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2" r:id="rId5"/>
    <p:sldMasterId id="2147483702" r:id="rId6"/>
    <p:sldMasterId id="2147483721" r:id="rId7"/>
    <p:sldMasterId id="2147483757" r:id="rId8"/>
    <p:sldMasterId id="2147483786" r:id="rId9"/>
  </p:sldMasterIdLst>
  <p:notesMasterIdLst>
    <p:notesMasterId r:id="rId27"/>
  </p:notesMasterIdLst>
  <p:sldIdLst>
    <p:sldId id="1715" r:id="rId10"/>
    <p:sldId id="1724" r:id="rId11"/>
    <p:sldId id="4556" r:id="rId12"/>
    <p:sldId id="1499" r:id="rId13"/>
    <p:sldId id="1500" r:id="rId14"/>
    <p:sldId id="1501" r:id="rId15"/>
    <p:sldId id="1503" r:id="rId16"/>
    <p:sldId id="1706" r:id="rId17"/>
    <p:sldId id="1707" r:id="rId18"/>
    <p:sldId id="1708" r:id="rId19"/>
    <p:sldId id="4557" r:id="rId20"/>
    <p:sldId id="1676" r:id="rId21"/>
    <p:sldId id="1712" r:id="rId22"/>
    <p:sldId id="1678" r:id="rId23"/>
    <p:sldId id="1680" r:id="rId24"/>
    <p:sldId id="1681" r:id="rId25"/>
    <p:sldId id="1684"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6189676-557F-491B-A02C-FC77697C58F1}">
          <p14:sldIdLst>
            <p14:sldId id="1715"/>
            <p14:sldId id="1724"/>
          </p14:sldIdLst>
        </p14:section>
        <p14:section name="Modern Datacenter" id="{D3DCD9C4-96B1-47E5-9E78-7B81749F4280}">
          <p14:sldIdLst/>
        </p14:section>
        <p14:section name="Challenges Faced" id="{7ABF0EC8-7C88-4290-A78F-BBFAE87EB70C}">
          <p14:sldIdLst/>
        </p14:section>
        <p14:section name="Governance Scaffolding" id="{55A193F3-DA2E-453F-949A-31F9C0716BD3}">
          <p14:sldIdLst/>
        </p14:section>
        <p14:section name="Security Landscape" id="{837C1704-94F1-4024-8A87-7D29B2B92DB4}">
          <p14:sldIdLst/>
        </p14:section>
        <p14:section name="Security Center" id="{AEB26010-81F3-4DFA-9AE8-693442879383}">
          <p14:sldIdLst>
            <p14:sldId id="4556"/>
            <p14:sldId id="1499"/>
            <p14:sldId id="1500"/>
            <p14:sldId id="1501"/>
            <p14:sldId id="1503"/>
            <p14:sldId id="1706"/>
            <p14:sldId id="1707"/>
            <p14:sldId id="1708"/>
            <p14:sldId id="4557"/>
            <p14:sldId id="1676"/>
            <p14:sldId id="1712"/>
            <p14:sldId id="1678"/>
            <p14:sldId id="1680"/>
            <p14:sldId id="1681"/>
            <p14:sldId id="1684"/>
          </p14:sldIdLst>
        </p14:section>
        <p14:section name="Web Application Firewall" id="{728D4FC0-29AD-461B-A32E-266DE0B2601F}">
          <p14:sldIdLst/>
        </p14:section>
        <p14:section name="Conclusion" id="{9FCD5F9A-1140-4BA9-AE0B-34BED33CCAF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wait Joshi (AJ)" initials="AJ(" lastIdx="19" clrIdx="0">
    <p:extLst>
      <p:ext uri="{19B8F6BF-5375-455C-9EA6-DF929625EA0E}">
        <p15:presenceInfo xmlns:p15="http://schemas.microsoft.com/office/powerpoint/2012/main" userId="S-1-5-21-2127521184-1604012920-1887927527-54608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112A"/>
    <a:srgbClr val="004BBB"/>
    <a:srgbClr val="0078D7"/>
    <a:srgbClr val="00BCF2"/>
    <a:srgbClr val="FFB900"/>
    <a:srgbClr val="C86E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4E3DEC-6E0C-4945-952A-FFA48F412846}" v="1" dt="2021-03-31T10:39:46.303"/>
    <p1510:client id="{CDD7BA01-AAA1-4B16-88E8-15AD7D92F2C1}" v="2" dt="2021-03-31T10:46:40.4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823" autoAdjust="0"/>
    <p:restoredTop sz="96357" autoAdjust="0"/>
  </p:normalViewPr>
  <p:slideViewPr>
    <p:cSldViewPr snapToGrid="0">
      <p:cViewPr varScale="1">
        <p:scale>
          <a:sx n="112" d="100"/>
          <a:sy n="112" d="100"/>
        </p:scale>
        <p:origin x="78"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commentAuthors" Target="commentAuthor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and Prabhu" userId="6c4c423f-d1f2-47b1-99e3-069c840331b4" providerId="ADAL" clId="{CDD7BA01-AAA1-4B16-88E8-15AD7D92F2C1}"/>
    <pc:docChg chg="delSld modSection">
      <pc:chgData name="Anand Prabhu" userId="6c4c423f-d1f2-47b1-99e3-069c840331b4" providerId="ADAL" clId="{CDD7BA01-AAA1-4B16-88E8-15AD7D92F2C1}" dt="2021-03-31T10:46:37.240" v="1" actId="47"/>
      <pc:docMkLst>
        <pc:docMk/>
      </pc:docMkLst>
      <pc:sldChg chg="del">
        <pc:chgData name="Anand Prabhu" userId="6c4c423f-d1f2-47b1-99e3-069c840331b4" providerId="ADAL" clId="{CDD7BA01-AAA1-4B16-88E8-15AD7D92F2C1}" dt="2021-03-31T10:46:37.240" v="1" actId="47"/>
        <pc:sldMkLst>
          <pc:docMk/>
          <pc:sldMk cId="1303359920" sldId="257"/>
        </pc:sldMkLst>
      </pc:sldChg>
      <pc:sldChg chg="del">
        <pc:chgData name="Anand Prabhu" userId="6c4c423f-d1f2-47b1-99e3-069c840331b4" providerId="ADAL" clId="{CDD7BA01-AAA1-4B16-88E8-15AD7D92F2C1}" dt="2021-03-31T10:46:37.240" v="1" actId="47"/>
        <pc:sldMkLst>
          <pc:docMk/>
          <pc:sldMk cId="3604932912" sldId="670"/>
        </pc:sldMkLst>
      </pc:sldChg>
      <pc:sldChg chg="del">
        <pc:chgData name="Anand Prabhu" userId="6c4c423f-d1f2-47b1-99e3-069c840331b4" providerId="ADAL" clId="{CDD7BA01-AAA1-4B16-88E8-15AD7D92F2C1}" dt="2021-03-31T10:46:37.240" v="1" actId="47"/>
        <pc:sldMkLst>
          <pc:docMk/>
          <pc:sldMk cId="2818435884" sldId="732"/>
        </pc:sldMkLst>
      </pc:sldChg>
      <pc:sldChg chg="del">
        <pc:chgData name="Anand Prabhu" userId="6c4c423f-d1f2-47b1-99e3-069c840331b4" providerId="ADAL" clId="{CDD7BA01-AAA1-4B16-88E8-15AD7D92F2C1}" dt="2021-03-31T10:46:37.240" v="1" actId="47"/>
        <pc:sldMkLst>
          <pc:docMk/>
          <pc:sldMk cId="1802420215" sldId="777"/>
        </pc:sldMkLst>
      </pc:sldChg>
      <pc:sldChg chg="del">
        <pc:chgData name="Anand Prabhu" userId="6c4c423f-d1f2-47b1-99e3-069c840331b4" providerId="ADAL" clId="{CDD7BA01-AAA1-4B16-88E8-15AD7D92F2C1}" dt="2021-03-31T10:46:37.240" v="1" actId="47"/>
        <pc:sldMkLst>
          <pc:docMk/>
          <pc:sldMk cId="2842770800" sldId="778"/>
        </pc:sldMkLst>
      </pc:sldChg>
      <pc:sldChg chg="del">
        <pc:chgData name="Anand Prabhu" userId="6c4c423f-d1f2-47b1-99e3-069c840331b4" providerId="ADAL" clId="{CDD7BA01-AAA1-4B16-88E8-15AD7D92F2C1}" dt="2021-03-31T10:46:37.240" v="1" actId="47"/>
        <pc:sldMkLst>
          <pc:docMk/>
          <pc:sldMk cId="1197708568" sldId="779"/>
        </pc:sldMkLst>
      </pc:sldChg>
      <pc:sldChg chg="del">
        <pc:chgData name="Anand Prabhu" userId="6c4c423f-d1f2-47b1-99e3-069c840331b4" providerId="ADAL" clId="{CDD7BA01-AAA1-4B16-88E8-15AD7D92F2C1}" dt="2021-03-31T10:46:37.240" v="1" actId="47"/>
        <pc:sldMkLst>
          <pc:docMk/>
          <pc:sldMk cId="152384711" sldId="780"/>
        </pc:sldMkLst>
      </pc:sldChg>
      <pc:sldChg chg="del">
        <pc:chgData name="Anand Prabhu" userId="6c4c423f-d1f2-47b1-99e3-069c840331b4" providerId="ADAL" clId="{CDD7BA01-AAA1-4B16-88E8-15AD7D92F2C1}" dt="2021-03-31T10:46:37.240" v="1" actId="47"/>
        <pc:sldMkLst>
          <pc:docMk/>
          <pc:sldMk cId="1197497591" sldId="781"/>
        </pc:sldMkLst>
      </pc:sldChg>
      <pc:sldChg chg="del">
        <pc:chgData name="Anand Prabhu" userId="6c4c423f-d1f2-47b1-99e3-069c840331b4" providerId="ADAL" clId="{CDD7BA01-AAA1-4B16-88E8-15AD7D92F2C1}" dt="2021-03-31T10:46:37.240" v="1" actId="47"/>
        <pc:sldMkLst>
          <pc:docMk/>
          <pc:sldMk cId="4048037440" sldId="782"/>
        </pc:sldMkLst>
      </pc:sldChg>
      <pc:sldChg chg="del">
        <pc:chgData name="Anand Prabhu" userId="6c4c423f-d1f2-47b1-99e3-069c840331b4" providerId="ADAL" clId="{CDD7BA01-AAA1-4B16-88E8-15AD7D92F2C1}" dt="2021-03-31T10:46:37.240" v="1" actId="47"/>
        <pc:sldMkLst>
          <pc:docMk/>
          <pc:sldMk cId="723145865" sldId="784"/>
        </pc:sldMkLst>
      </pc:sldChg>
      <pc:sldChg chg="del">
        <pc:chgData name="Anand Prabhu" userId="6c4c423f-d1f2-47b1-99e3-069c840331b4" providerId="ADAL" clId="{CDD7BA01-AAA1-4B16-88E8-15AD7D92F2C1}" dt="2021-03-31T10:46:37.240" v="1" actId="47"/>
        <pc:sldMkLst>
          <pc:docMk/>
          <pc:sldMk cId="1272676977" sldId="788"/>
        </pc:sldMkLst>
      </pc:sldChg>
      <pc:sldChg chg="del">
        <pc:chgData name="Anand Prabhu" userId="6c4c423f-d1f2-47b1-99e3-069c840331b4" providerId="ADAL" clId="{CDD7BA01-AAA1-4B16-88E8-15AD7D92F2C1}" dt="2021-03-31T10:45:10.883" v="0" actId="47"/>
        <pc:sldMkLst>
          <pc:docMk/>
          <pc:sldMk cId="2143251001" sldId="1414"/>
        </pc:sldMkLst>
      </pc:sldChg>
      <pc:sldChg chg="del">
        <pc:chgData name="Anand Prabhu" userId="6c4c423f-d1f2-47b1-99e3-069c840331b4" providerId="ADAL" clId="{CDD7BA01-AAA1-4B16-88E8-15AD7D92F2C1}" dt="2021-03-31T10:45:10.883" v="0" actId="47"/>
        <pc:sldMkLst>
          <pc:docMk/>
          <pc:sldMk cId="2005451809" sldId="1415"/>
        </pc:sldMkLst>
      </pc:sldChg>
      <pc:sldChg chg="del">
        <pc:chgData name="Anand Prabhu" userId="6c4c423f-d1f2-47b1-99e3-069c840331b4" providerId="ADAL" clId="{CDD7BA01-AAA1-4B16-88E8-15AD7D92F2C1}" dt="2021-03-31T10:45:10.883" v="0" actId="47"/>
        <pc:sldMkLst>
          <pc:docMk/>
          <pc:sldMk cId="1590431916" sldId="1437"/>
        </pc:sldMkLst>
      </pc:sldChg>
      <pc:sldChg chg="del">
        <pc:chgData name="Anand Prabhu" userId="6c4c423f-d1f2-47b1-99e3-069c840331b4" providerId="ADAL" clId="{CDD7BA01-AAA1-4B16-88E8-15AD7D92F2C1}" dt="2021-03-31T10:45:10.883" v="0" actId="47"/>
        <pc:sldMkLst>
          <pc:docMk/>
          <pc:sldMk cId="3994181269" sldId="1491"/>
        </pc:sldMkLst>
      </pc:sldChg>
      <pc:sldChg chg="del">
        <pc:chgData name="Anand Prabhu" userId="6c4c423f-d1f2-47b1-99e3-069c840331b4" providerId="ADAL" clId="{CDD7BA01-AAA1-4B16-88E8-15AD7D92F2C1}" dt="2021-03-31T10:45:10.883" v="0" actId="47"/>
        <pc:sldMkLst>
          <pc:docMk/>
          <pc:sldMk cId="3027949636" sldId="1492"/>
        </pc:sldMkLst>
      </pc:sldChg>
      <pc:sldChg chg="del">
        <pc:chgData name="Anand Prabhu" userId="6c4c423f-d1f2-47b1-99e3-069c840331b4" providerId="ADAL" clId="{CDD7BA01-AAA1-4B16-88E8-15AD7D92F2C1}" dt="2021-03-31T10:45:10.883" v="0" actId="47"/>
        <pc:sldMkLst>
          <pc:docMk/>
          <pc:sldMk cId="2480667130" sldId="1493"/>
        </pc:sldMkLst>
      </pc:sldChg>
      <pc:sldChg chg="del">
        <pc:chgData name="Anand Prabhu" userId="6c4c423f-d1f2-47b1-99e3-069c840331b4" providerId="ADAL" clId="{CDD7BA01-AAA1-4B16-88E8-15AD7D92F2C1}" dt="2021-03-31T10:45:10.883" v="0" actId="47"/>
        <pc:sldMkLst>
          <pc:docMk/>
          <pc:sldMk cId="1885675031" sldId="1494"/>
        </pc:sldMkLst>
      </pc:sldChg>
      <pc:sldChg chg="del">
        <pc:chgData name="Anand Prabhu" userId="6c4c423f-d1f2-47b1-99e3-069c840331b4" providerId="ADAL" clId="{CDD7BA01-AAA1-4B16-88E8-15AD7D92F2C1}" dt="2021-03-31T10:45:10.883" v="0" actId="47"/>
        <pc:sldMkLst>
          <pc:docMk/>
          <pc:sldMk cId="484820856" sldId="1496"/>
        </pc:sldMkLst>
      </pc:sldChg>
      <pc:sldChg chg="del">
        <pc:chgData name="Anand Prabhu" userId="6c4c423f-d1f2-47b1-99e3-069c840331b4" providerId="ADAL" clId="{CDD7BA01-AAA1-4B16-88E8-15AD7D92F2C1}" dt="2021-03-31T10:45:10.883" v="0" actId="47"/>
        <pc:sldMkLst>
          <pc:docMk/>
          <pc:sldMk cId="1446393910" sldId="1497"/>
        </pc:sldMkLst>
      </pc:sldChg>
      <pc:sldChg chg="del">
        <pc:chgData name="Anand Prabhu" userId="6c4c423f-d1f2-47b1-99e3-069c840331b4" providerId="ADAL" clId="{CDD7BA01-AAA1-4B16-88E8-15AD7D92F2C1}" dt="2021-03-31T10:45:10.883" v="0" actId="47"/>
        <pc:sldMkLst>
          <pc:docMk/>
          <pc:sldMk cId="3728794724" sldId="1663"/>
        </pc:sldMkLst>
      </pc:sldChg>
      <pc:sldChg chg="del">
        <pc:chgData name="Anand Prabhu" userId="6c4c423f-d1f2-47b1-99e3-069c840331b4" providerId="ADAL" clId="{CDD7BA01-AAA1-4B16-88E8-15AD7D92F2C1}" dt="2021-03-31T10:45:10.883" v="0" actId="47"/>
        <pc:sldMkLst>
          <pc:docMk/>
          <pc:sldMk cId="3998396240" sldId="1664"/>
        </pc:sldMkLst>
      </pc:sldChg>
      <pc:sldChg chg="del">
        <pc:chgData name="Anand Prabhu" userId="6c4c423f-d1f2-47b1-99e3-069c840331b4" providerId="ADAL" clId="{CDD7BA01-AAA1-4B16-88E8-15AD7D92F2C1}" dt="2021-03-31T10:45:10.883" v="0" actId="47"/>
        <pc:sldMkLst>
          <pc:docMk/>
          <pc:sldMk cId="1869259223" sldId="1687"/>
        </pc:sldMkLst>
      </pc:sldChg>
      <pc:sldChg chg="del">
        <pc:chgData name="Anand Prabhu" userId="6c4c423f-d1f2-47b1-99e3-069c840331b4" providerId="ADAL" clId="{CDD7BA01-AAA1-4B16-88E8-15AD7D92F2C1}" dt="2021-03-31T10:45:10.883" v="0" actId="47"/>
        <pc:sldMkLst>
          <pc:docMk/>
          <pc:sldMk cId="1017512670" sldId="1704"/>
        </pc:sldMkLst>
      </pc:sldChg>
      <pc:sldChg chg="del">
        <pc:chgData name="Anand Prabhu" userId="6c4c423f-d1f2-47b1-99e3-069c840331b4" providerId="ADAL" clId="{CDD7BA01-AAA1-4B16-88E8-15AD7D92F2C1}" dt="2021-03-31T10:45:10.883" v="0" actId="47"/>
        <pc:sldMkLst>
          <pc:docMk/>
          <pc:sldMk cId="2883867290" sldId="1705"/>
        </pc:sldMkLst>
      </pc:sldChg>
      <pc:sldChg chg="del">
        <pc:chgData name="Anand Prabhu" userId="6c4c423f-d1f2-47b1-99e3-069c840331b4" providerId="ADAL" clId="{CDD7BA01-AAA1-4B16-88E8-15AD7D92F2C1}" dt="2021-03-31T10:45:10.883" v="0" actId="47"/>
        <pc:sldMkLst>
          <pc:docMk/>
          <pc:sldMk cId="3504930069" sldId="1720"/>
        </pc:sldMkLst>
      </pc:sldChg>
      <pc:sldChg chg="del">
        <pc:chgData name="Anand Prabhu" userId="6c4c423f-d1f2-47b1-99e3-069c840331b4" providerId="ADAL" clId="{CDD7BA01-AAA1-4B16-88E8-15AD7D92F2C1}" dt="2021-03-31T10:46:37.240" v="1" actId="47"/>
        <pc:sldMkLst>
          <pc:docMk/>
          <pc:sldMk cId="2816930418" sldId="1721"/>
        </pc:sldMkLst>
      </pc:sldChg>
      <pc:sldChg chg="del">
        <pc:chgData name="Anand Prabhu" userId="6c4c423f-d1f2-47b1-99e3-069c840331b4" providerId="ADAL" clId="{CDD7BA01-AAA1-4B16-88E8-15AD7D92F2C1}" dt="2021-03-31T10:46:37.240" v="1" actId="47"/>
        <pc:sldMkLst>
          <pc:docMk/>
          <pc:sldMk cId="3132768654" sldId="1722"/>
        </pc:sldMkLst>
      </pc:sldChg>
      <pc:sldChg chg="del">
        <pc:chgData name="Anand Prabhu" userId="6c4c423f-d1f2-47b1-99e3-069c840331b4" providerId="ADAL" clId="{CDD7BA01-AAA1-4B16-88E8-15AD7D92F2C1}" dt="2021-03-31T10:46:37.240" v="1" actId="47"/>
        <pc:sldMkLst>
          <pc:docMk/>
          <pc:sldMk cId="937551889" sldId="1723"/>
        </pc:sldMkLst>
      </pc:sldChg>
      <pc:sldChg chg="del">
        <pc:chgData name="Anand Prabhu" userId="6c4c423f-d1f2-47b1-99e3-069c840331b4" providerId="ADAL" clId="{CDD7BA01-AAA1-4B16-88E8-15AD7D92F2C1}" dt="2021-03-31T10:46:37.240" v="1" actId="47"/>
        <pc:sldMkLst>
          <pc:docMk/>
          <pc:sldMk cId="3513949734" sldId="4550"/>
        </pc:sldMkLst>
      </pc:sldChg>
      <pc:sldChg chg="del">
        <pc:chgData name="Anand Prabhu" userId="6c4c423f-d1f2-47b1-99e3-069c840331b4" providerId="ADAL" clId="{CDD7BA01-AAA1-4B16-88E8-15AD7D92F2C1}" dt="2021-03-31T10:46:37.240" v="1" actId="47"/>
        <pc:sldMkLst>
          <pc:docMk/>
          <pc:sldMk cId="2561398617" sldId="4551"/>
        </pc:sldMkLst>
      </pc:sldChg>
      <pc:sldChg chg="del">
        <pc:chgData name="Anand Prabhu" userId="6c4c423f-d1f2-47b1-99e3-069c840331b4" providerId="ADAL" clId="{CDD7BA01-AAA1-4B16-88E8-15AD7D92F2C1}" dt="2021-03-31T10:45:10.883" v="0" actId="47"/>
        <pc:sldMkLst>
          <pc:docMk/>
          <pc:sldMk cId="3828036671" sldId="4554"/>
        </pc:sldMkLst>
      </pc:sldChg>
      <pc:sldChg chg="del">
        <pc:chgData name="Anand Prabhu" userId="6c4c423f-d1f2-47b1-99e3-069c840331b4" providerId="ADAL" clId="{CDD7BA01-AAA1-4B16-88E8-15AD7D92F2C1}" dt="2021-03-31T10:45:10.883" v="0" actId="47"/>
        <pc:sldMkLst>
          <pc:docMk/>
          <pc:sldMk cId="2911870159" sldId="4555"/>
        </pc:sldMkLst>
      </pc:sldChg>
      <pc:sldChg chg="del">
        <pc:chgData name="Anand Prabhu" userId="6c4c423f-d1f2-47b1-99e3-069c840331b4" providerId="ADAL" clId="{CDD7BA01-AAA1-4B16-88E8-15AD7D92F2C1}" dt="2021-03-31T10:46:37.240" v="1" actId="47"/>
        <pc:sldMkLst>
          <pc:docMk/>
          <pc:sldMk cId="3620474651" sldId="4558"/>
        </pc:sldMkLst>
      </pc:sldChg>
      <pc:sldChg chg="del">
        <pc:chgData name="Anand Prabhu" userId="6c4c423f-d1f2-47b1-99e3-069c840331b4" providerId="ADAL" clId="{CDD7BA01-AAA1-4B16-88E8-15AD7D92F2C1}" dt="2021-03-31T10:46:37.240" v="1" actId="47"/>
        <pc:sldMkLst>
          <pc:docMk/>
          <pc:sldMk cId="2977808609" sldId="4560"/>
        </pc:sldMkLst>
      </pc:sldChg>
      <pc:sldMasterChg chg="delSldLayout">
        <pc:chgData name="Anand Prabhu" userId="6c4c423f-d1f2-47b1-99e3-069c840331b4" providerId="ADAL" clId="{CDD7BA01-AAA1-4B16-88E8-15AD7D92F2C1}" dt="2021-03-31T10:46:37.240" v="1" actId="47"/>
        <pc:sldMasterMkLst>
          <pc:docMk/>
          <pc:sldMasterMk cId="3362795782" sldId="2147483786"/>
        </pc:sldMasterMkLst>
        <pc:sldLayoutChg chg="del">
          <pc:chgData name="Anand Prabhu" userId="6c4c423f-d1f2-47b1-99e3-069c840331b4" providerId="ADAL" clId="{CDD7BA01-AAA1-4B16-88E8-15AD7D92F2C1}" dt="2021-03-31T10:45:10.883" v="0" actId="47"/>
          <pc:sldLayoutMkLst>
            <pc:docMk/>
            <pc:sldMasterMk cId="3362795782" sldId="2147483786"/>
            <pc:sldLayoutMk cId="2797834121" sldId="2147483804"/>
          </pc:sldLayoutMkLst>
        </pc:sldLayoutChg>
        <pc:sldLayoutChg chg="del">
          <pc:chgData name="Anand Prabhu" userId="6c4c423f-d1f2-47b1-99e3-069c840331b4" providerId="ADAL" clId="{CDD7BA01-AAA1-4B16-88E8-15AD7D92F2C1}" dt="2021-03-31T10:45:10.883" v="0" actId="47"/>
          <pc:sldLayoutMkLst>
            <pc:docMk/>
            <pc:sldMasterMk cId="3362795782" sldId="2147483786"/>
            <pc:sldLayoutMk cId="3981897827" sldId="2147483805"/>
          </pc:sldLayoutMkLst>
        </pc:sldLayoutChg>
        <pc:sldLayoutChg chg="del">
          <pc:chgData name="Anand Prabhu" userId="6c4c423f-d1f2-47b1-99e3-069c840331b4" providerId="ADAL" clId="{CDD7BA01-AAA1-4B16-88E8-15AD7D92F2C1}" dt="2021-03-31T10:45:10.883" v="0" actId="47"/>
          <pc:sldLayoutMkLst>
            <pc:docMk/>
            <pc:sldMasterMk cId="3362795782" sldId="2147483786"/>
            <pc:sldLayoutMk cId="708268217" sldId="2147483807"/>
          </pc:sldLayoutMkLst>
        </pc:sldLayoutChg>
        <pc:sldLayoutChg chg="del">
          <pc:chgData name="Anand Prabhu" userId="6c4c423f-d1f2-47b1-99e3-069c840331b4" providerId="ADAL" clId="{CDD7BA01-AAA1-4B16-88E8-15AD7D92F2C1}" dt="2021-03-31T10:46:37.240" v="1" actId="47"/>
          <pc:sldLayoutMkLst>
            <pc:docMk/>
            <pc:sldMasterMk cId="3362795782" sldId="2147483786"/>
            <pc:sldLayoutMk cId="269415547" sldId="2147483813"/>
          </pc:sldLayoutMkLst>
        </pc:sldLayoutChg>
      </pc:sldMasterChg>
    </pc:docChg>
  </pc:docChgLst>
  <pc:docChgLst>
    <pc:chgData name="Anand Prabhu" userId="6c4c423f-d1f2-47b1-99e3-069c840331b4" providerId="ADAL" clId="{1DA7EDA1-0E59-4DF3-AACB-97850A9B83A1}"/>
    <pc:docChg chg="undo custSel addSld delSld modSld sldOrd delSection modSection">
      <pc:chgData name="Anand Prabhu" userId="6c4c423f-d1f2-47b1-99e3-069c840331b4" providerId="ADAL" clId="{1DA7EDA1-0E59-4DF3-AACB-97850A9B83A1}" dt="2020-05-13T09:08:03.255" v="1734" actId="1038"/>
      <pc:docMkLst>
        <pc:docMk/>
      </pc:docMkLst>
      <pc:sldChg chg="add ord">
        <pc:chgData name="Anand Prabhu" userId="6c4c423f-d1f2-47b1-99e3-069c840331b4" providerId="ADAL" clId="{1DA7EDA1-0E59-4DF3-AACB-97850A9B83A1}" dt="2020-05-13T08:56:31.852" v="1362"/>
        <pc:sldMkLst>
          <pc:docMk/>
          <pc:sldMk cId="1303359920" sldId="257"/>
        </pc:sldMkLst>
      </pc:sldChg>
      <pc:sldChg chg="add del modTransition">
        <pc:chgData name="Anand Prabhu" userId="6c4c423f-d1f2-47b1-99e3-069c840331b4" providerId="ADAL" clId="{1DA7EDA1-0E59-4DF3-AACB-97850A9B83A1}" dt="2020-05-13T08:39:41.030" v="1053" actId="2696"/>
        <pc:sldMkLst>
          <pc:docMk/>
          <pc:sldMk cId="2164473218" sldId="257"/>
        </pc:sldMkLst>
      </pc:sldChg>
      <pc:sldChg chg="add del">
        <pc:chgData name="Anand Prabhu" userId="6c4c423f-d1f2-47b1-99e3-069c840331b4" providerId="ADAL" clId="{1DA7EDA1-0E59-4DF3-AACB-97850A9B83A1}" dt="2020-05-13T07:42:26.223" v="924" actId="2696"/>
        <pc:sldMkLst>
          <pc:docMk/>
          <pc:sldMk cId="785281587" sldId="258"/>
        </pc:sldMkLst>
      </pc:sldChg>
      <pc:sldChg chg="addSp delSp modSp">
        <pc:chgData name="Anand Prabhu" userId="6c4c423f-d1f2-47b1-99e3-069c840331b4" providerId="ADAL" clId="{1DA7EDA1-0E59-4DF3-AACB-97850A9B83A1}" dt="2020-05-13T07:07:06.562" v="24" actId="20577"/>
        <pc:sldMkLst>
          <pc:docMk/>
          <pc:sldMk cId="446683251" sldId="259"/>
        </pc:sldMkLst>
        <pc:spChg chg="add mod">
          <ac:chgData name="Anand Prabhu" userId="6c4c423f-d1f2-47b1-99e3-069c840331b4" providerId="ADAL" clId="{1DA7EDA1-0E59-4DF3-AACB-97850A9B83A1}" dt="2020-05-13T07:06:42.123" v="2"/>
          <ac:spMkLst>
            <pc:docMk/>
            <pc:sldMk cId="446683251" sldId="259"/>
            <ac:spMk id="2" creationId="{DFBC9BFF-2EC0-4CA5-9355-23613EDB41C9}"/>
          </ac:spMkLst>
        </pc:spChg>
        <pc:spChg chg="del">
          <ac:chgData name="Anand Prabhu" userId="6c4c423f-d1f2-47b1-99e3-069c840331b4" providerId="ADAL" clId="{1DA7EDA1-0E59-4DF3-AACB-97850A9B83A1}" dt="2020-05-13T07:06:58.570" v="3" actId="478"/>
          <ac:spMkLst>
            <pc:docMk/>
            <pc:sldMk cId="446683251" sldId="259"/>
            <ac:spMk id="4" creationId="{00000000-0000-0000-0000-000000000000}"/>
          </ac:spMkLst>
        </pc:spChg>
        <pc:spChg chg="add mod">
          <ac:chgData name="Anand Prabhu" userId="6c4c423f-d1f2-47b1-99e3-069c840331b4" providerId="ADAL" clId="{1DA7EDA1-0E59-4DF3-AACB-97850A9B83A1}" dt="2020-05-13T07:07:06.562" v="24" actId="20577"/>
          <ac:spMkLst>
            <pc:docMk/>
            <pc:sldMk cId="446683251" sldId="259"/>
            <ac:spMk id="5" creationId="{32332543-4EE4-47E1-8060-B64CC0D02655}"/>
          </ac:spMkLst>
        </pc:spChg>
      </pc:sldChg>
      <pc:sldChg chg="add del">
        <pc:chgData name="Anand Prabhu" userId="6c4c423f-d1f2-47b1-99e3-069c840331b4" providerId="ADAL" clId="{1DA7EDA1-0E59-4DF3-AACB-97850A9B83A1}" dt="2020-05-13T07:42:26.239" v="925" actId="2696"/>
        <pc:sldMkLst>
          <pc:docMk/>
          <pc:sldMk cId="3001553656" sldId="262"/>
        </pc:sldMkLst>
      </pc:sldChg>
      <pc:sldChg chg="addSp delSp modSp add del modTransition">
        <pc:chgData name="Anand Prabhu" userId="6c4c423f-d1f2-47b1-99e3-069c840331b4" providerId="ADAL" clId="{1DA7EDA1-0E59-4DF3-AACB-97850A9B83A1}" dt="2020-05-13T07:35:26.145" v="914" actId="2696"/>
        <pc:sldMkLst>
          <pc:docMk/>
          <pc:sldMk cId="149947066" sldId="274"/>
        </pc:sldMkLst>
        <pc:spChg chg="del">
          <ac:chgData name="Anand Prabhu" userId="6c4c423f-d1f2-47b1-99e3-069c840331b4" providerId="ADAL" clId="{1DA7EDA1-0E59-4DF3-AACB-97850A9B83A1}" dt="2020-05-13T07:13:07.510" v="57" actId="478"/>
          <ac:spMkLst>
            <pc:docMk/>
            <pc:sldMk cId="149947066" sldId="274"/>
            <ac:spMk id="2" creationId="{00000000-0000-0000-0000-000000000000}"/>
          </ac:spMkLst>
        </pc:spChg>
        <pc:spChg chg="add mod">
          <ac:chgData name="Anand Prabhu" userId="6c4c423f-d1f2-47b1-99e3-069c840331b4" providerId="ADAL" clId="{1DA7EDA1-0E59-4DF3-AACB-97850A9B83A1}" dt="2020-05-13T07:13:15.495" v="72" actId="20577"/>
          <ac:spMkLst>
            <pc:docMk/>
            <pc:sldMk cId="149947066" sldId="274"/>
            <ac:spMk id="3" creationId="{0D5EE5C3-399D-45F6-AB56-31477930D32F}"/>
          </ac:spMkLst>
        </pc:spChg>
        <pc:spChg chg="add mod">
          <ac:chgData name="Anand Prabhu" userId="6c4c423f-d1f2-47b1-99e3-069c840331b4" providerId="ADAL" clId="{1DA7EDA1-0E59-4DF3-AACB-97850A9B83A1}" dt="2020-05-13T07:12:58.492" v="56"/>
          <ac:spMkLst>
            <pc:docMk/>
            <pc:sldMk cId="149947066" sldId="274"/>
            <ac:spMk id="4" creationId="{D4C00C9F-6F07-40E2-9DCA-9B0782FAF2CC}"/>
          </ac:spMkLst>
        </pc:spChg>
      </pc:sldChg>
      <pc:sldChg chg="ord">
        <pc:chgData name="Anand Prabhu" userId="6c4c423f-d1f2-47b1-99e3-069c840331b4" providerId="ADAL" clId="{1DA7EDA1-0E59-4DF3-AACB-97850A9B83A1}" dt="2020-05-13T08:47:31.576" v="1197"/>
        <pc:sldMkLst>
          <pc:docMk/>
          <pc:sldMk cId="2099232856" sldId="296"/>
        </pc:sldMkLst>
      </pc:sldChg>
      <pc:sldChg chg="add del">
        <pc:chgData name="Anand Prabhu" userId="6c4c423f-d1f2-47b1-99e3-069c840331b4" providerId="ADAL" clId="{1DA7EDA1-0E59-4DF3-AACB-97850A9B83A1}" dt="2020-05-13T07:42:26.239" v="926" actId="2696"/>
        <pc:sldMkLst>
          <pc:docMk/>
          <pc:sldMk cId="2247389653" sldId="668"/>
        </pc:sldMkLst>
      </pc:sldChg>
      <pc:sldChg chg="add">
        <pc:chgData name="Anand Prabhu" userId="6c4c423f-d1f2-47b1-99e3-069c840331b4" providerId="ADAL" clId="{1DA7EDA1-0E59-4DF3-AACB-97850A9B83A1}" dt="2020-05-13T07:40:40.182" v="923"/>
        <pc:sldMkLst>
          <pc:docMk/>
          <pc:sldMk cId="3604932912" sldId="670"/>
        </pc:sldMkLst>
      </pc:sldChg>
      <pc:sldChg chg="add del">
        <pc:chgData name="Anand Prabhu" userId="6c4c423f-d1f2-47b1-99e3-069c840331b4" providerId="ADAL" clId="{1DA7EDA1-0E59-4DF3-AACB-97850A9B83A1}" dt="2020-05-13T07:39:54.622" v="922" actId="2696"/>
        <pc:sldMkLst>
          <pc:docMk/>
          <pc:sldMk cId="3679718621" sldId="670"/>
        </pc:sldMkLst>
      </pc:sldChg>
      <pc:sldChg chg="ord">
        <pc:chgData name="Anand Prabhu" userId="6c4c423f-d1f2-47b1-99e3-069c840331b4" providerId="ADAL" clId="{1DA7EDA1-0E59-4DF3-AACB-97850A9B83A1}" dt="2020-05-13T08:47:34.932" v="1198"/>
        <pc:sldMkLst>
          <pc:docMk/>
          <pc:sldMk cId="4045199007" sldId="679"/>
        </pc:sldMkLst>
      </pc:sldChg>
      <pc:sldChg chg="ord">
        <pc:chgData name="Anand Prabhu" userId="6c4c423f-d1f2-47b1-99e3-069c840331b4" providerId="ADAL" clId="{1DA7EDA1-0E59-4DF3-AACB-97850A9B83A1}" dt="2020-05-13T08:45:33.457" v="1168"/>
        <pc:sldMkLst>
          <pc:docMk/>
          <pc:sldMk cId="2154481219" sldId="702"/>
        </pc:sldMkLst>
      </pc:sldChg>
      <pc:sldChg chg="ord">
        <pc:chgData name="Anand Prabhu" userId="6c4c423f-d1f2-47b1-99e3-069c840331b4" providerId="ADAL" clId="{1DA7EDA1-0E59-4DF3-AACB-97850A9B83A1}" dt="2020-05-13T08:47:19.760" v="1194"/>
        <pc:sldMkLst>
          <pc:docMk/>
          <pc:sldMk cId="3438081181" sldId="728"/>
        </pc:sldMkLst>
      </pc:sldChg>
      <pc:sldChg chg="del">
        <pc:chgData name="Anand Prabhu" userId="6c4c423f-d1f2-47b1-99e3-069c840331b4" providerId="ADAL" clId="{1DA7EDA1-0E59-4DF3-AACB-97850A9B83A1}" dt="2020-05-13T07:52:17.665" v="989" actId="2696"/>
        <pc:sldMkLst>
          <pc:docMk/>
          <pc:sldMk cId="1091943013" sldId="732"/>
        </pc:sldMkLst>
      </pc:sldChg>
      <pc:sldChg chg="ord">
        <pc:chgData name="Anand Prabhu" userId="6c4c423f-d1f2-47b1-99e3-069c840331b4" providerId="ADAL" clId="{1DA7EDA1-0E59-4DF3-AACB-97850A9B83A1}" dt="2020-05-13T08:45:42.796" v="1170"/>
        <pc:sldMkLst>
          <pc:docMk/>
          <pc:sldMk cId="3561417366" sldId="736"/>
        </pc:sldMkLst>
      </pc:sldChg>
      <pc:sldChg chg="ord">
        <pc:chgData name="Anand Prabhu" userId="6c4c423f-d1f2-47b1-99e3-069c840331b4" providerId="ADAL" clId="{1DA7EDA1-0E59-4DF3-AACB-97850A9B83A1}" dt="2020-05-13T08:45:39.350" v="1169"/>
        <pc:sldMkLst>
          <pc:docMk/>
          <pc:sldMk cId="982234604" sldId="737"/>
        </pc:sldMkLst>
      </pc:sldChg>
      <pc:sldChg chg="ord">
        <pc:chgData name="Anand Prabhu" userId="6c4c423f-d1f2-47b1-99e3-069c840331b4" providerId="ADAL" clId="{1DA7EDA1-0E59-4DF3-AACB-97850A9B83A1}" dt="2020-05-13T08:47:22.092" v="1195"/>
        <pc:sldMkLst>
          <pc:docMk/>
          <pc:sldMk cId="1567553940" sldId="739"/>
        </pc:sldMkLst>
      </pc:sldChg>
      <pc:sldChg chg="ord">
        <pc:chgData name="Anand Prabhu" userId="6c4c423f-d1f2-47b1-99e3-069c840331b4" providerId="ADAL" clId="{1DA7EDA1-0E59-4DF3-AACB-97850A9B83A1}" dt="2020-05-13T08:48:15.475" v="1199"/>
        <pc:sldMkLst>
          <pc:docMk/>
          <pc:sldMk cId="1591357489" sldId="744"/>
        </pc:sldMkLst>
      </pc:sldChg>
      <pc:sldChg chg="ord">
        <pc:chgData name="Anand Prabhu" userId="6c4c423f-d1f2-47b1-99e3-069c840331b4" providerId="ADAL" clId="{1DA7EDA1-0E59-4DF3-AACB-97850A9B83A1}" dt="2020-05-13T08:47:24.181" v="1196"/>
        <pc:sldMkLst>
          <pc:docMk/>
          <pc:sldMk cId="1259475928" sldId="746"/>
        </pc:sldMkLst>
      </pc:sldChg>
      <pc:sldChg chg="ord">
        <pc:chgData name="Anand Prabhu" userId="6c4c423f-d1f2-47b1-99e3-069c840331b4" providerId="ADAL" clId="{1DA7EDA1-0E59-4DF3-AACB-97850A9B83A1}" dt="2020-05-13T08:48:15.475" v="1199"/>
        <pc:sldMkLst>
          <pc:docMk/>
          <pc:sldMk cId="325675679" sldId="748"/>
        </pc:sldMkLst>
      </pc:sldChg>
      <pc:sldChg chg="ord">
        <pc:chgData name="Anand Prabhu" userId="6c4c423f-d1f2-47b1-99e3-069c840331b4" providerId="ADAL" clId="{1DA7EDA1-0E59-4DF3-AACB-97850A9B83A1}" dt="2020-05-13T08:48:15.475" v="1199"/>
        <pc:sldMkLst>
          <pc:docMk/>
          <pc:sldMk cId="278505841" sldId="749"/>
        </pc:sldMkLst>
      </pc:sldChg>
      <pc:sldChg chg="del">
        <pc:chgData name="Anand Prabhu" userId="6c4c423f-d1f2-47b1-99e3-069c840331b4" providerId="ADAL" clId="{1DA7EDA1-0E59-4DF3-AACB-97850A9B83A1}" dt="2020-05-13T07:52:14.704" v="988" actId="2696"/>
        <pc:sldMkLst>
          <pc:docMk/>
          <pc:sldMk cId="302464287" sldId="777"/>
        </pc:sldMkLst>
      </pc:sldChg>
      <pc:sldChg chg="addSp delSp modSp add del">
        <pc:chgData name="Anand Prabhu" userId="6c4c423f-d1f2-47b1-99e3-069c840331b4" providerId="ADAL" clId="{1DA7EDA1-0E59-4DF3-AACB-97850A9B83A1}" dt="2020-05-13T07:51:20.188" v="983"/>
        <pc:sldMkLst>
          <pc:docMk/>
          <pc:sldMk cId="367864264" sldId="778"/>
        </pc:sldMkLst>
        <pc:spChg chg="add del mod">
          <ac:chgData name="Anand Prabhu" userId="6c4c423f-d1f2-47b1-99e3-069c840331b4" providerId="ADAL" clId="{1DA7EDA1-0E59-4DF3-AACB-97850A9B83A1}" dt="2020-05-13T07:51:19.599" v="982"/>
          <ac:spMkLst>
            <pc:docMk/>
            <pc:sldMk cId="367864264" sldId="778"/>
            <ac:spMk id="7" creationId="{DCD9E442-1242-4FA0-BB6D-B8FBA99348D9}"/>
          </ac:spMkLst>
        </pc:spChg>
        <pc:spChg chg="add del mod">
          <ac:chgData name="Anand Prabhu" userId="6c4c423f-d1f2-47b1-99e3-069c840331b4" providerId="ADAL" clId="{1DA7EDA1-0E59-4DF3-AACB-97850A9B83A1}" dt="2020-05-13T07:51:19.599" v="982"/>
          <ac:spMkLst>
            <pc:docMk/>
            <pc:sldMk cId="367864264" sldId="778"/>
            <ac:spMk id="8" creationId="{145B3AF2-3DCF-41B1-B1F8-895A2C4A4C0E}"/>
          </ac:spMkLst>
        </pc:spChg>
      </pc:sldChg>
      <pc:sldChg chg="add del ord">
        <pc:chgData name="Anand Prabhu" userId="6c4c423f-d1f2-47b1-99e3-069c840331b4" providerId="ADAL" clId="{1DA7EDA1-0E59-4DF3-AACB-97850A9B83A1}" dt="2020-05-13T07:51:43.103" v="985" actId="2696"/>
        <pc:sldMkLst>
          <pc:docMk/>
          <pc:sldMk cId="3201623893" sldId="778"/>
        </pc:sldMkLst>
      </pc:sldChg>
      <pc:sldChg chg="del">
        <pc:chgData name="Anand Prabhu" userId="6c4c423f-d1f2-47b1-99e3-069c840331b4" providerId="ADAL" clId="{1DA7EDA1-0E59-4DF3-AACB-97850A9B83A1}" dt="2020-05-13T07:52:04.539" v="987" actId="2696"/>
        <pc:sldMkLst>
          <pc:docMk/>
          <pc:sldMk cId="2166777094" sldId="779"/>
        </pc:sldMkLst>
      </pc:sldChg>
      <pc:sldChg chg="del">
        <pc:chgData name="Anand Prabhu" userId="6c4c423f-d1f2-47b1-99e3-069c840331b4" providerId="ADAL" clId="{1DA7EDA1-0E59-4DF3-AACB-97850A9B83A1}" dt="2020-05-13T07:52:20.077" v="990" actId="2696"/>
        <pc:sldMkLst>
          <pc:docMk/>
          <pc:sldMk cId="3323346506" sldId="780"/>
        </pc:sldMkLst>
      </pc:sldChg>
      <pc:sldChg chg="add del">
        <pc:chgData name="Anand Prabhu" userId="6c4c423f-d1f2-47b1-99e3-069c840331b4" providerId="ADAL" clId="{1DA7EDA1-0E59-4DF3-AACB-97850A9B83A1}" dt="2020-05-13T07:52:36.201" v="993" actId="2696"/>
        <pc:sldMkLst>
          <pc:docMk/>
          <pc:sldMk cId="465129241" sldId="781"/>
        </pc:sldMkLst>
      </pc:sldChg>
      <pc:sldChg chg="del">
        <pc:chgData name="Anand Prabhu" userId="6c4c423f-d1f2-47b1-99e3-069c840331b4" providerId="ADAL" clId="{1DA7EDA1-0E59-4DF3-AACB-97850A9B83A1}" dt="2020-05-13T07:52:38.737" v="994" actId="2696"/>
        <pc:sldMkLst>
          <pc:docMk/>
          <pc:sldMk cId="1394282831" sldId="782"/>
        </pc:sldMkLst>
      </pc:sldChg>
      <pc:sldChg chg="del">
        <pc:chgData name="Anand Prabhu" userId="6c4c423f-d1f2-47b1-99e3-069c840331b4" providerId="ADAL" clId="{1DA7EDA1-0E59-4DF3-AACB-97850A9B83A1}" dt="2020-05-13T07:52:54.272" v="995" actId="2696"/>
        <pc:sldMkLst>
          <pc:docMk/>
          <pc:sldMk cId="2901642100" sldId="784"/>
        </pc:sldMkLst>
      </pc:sldChg>
      <pc:sldChg chg="addSp modSp">
        <pc:chgData name="Anand Prabhu" userId="6c4c423f-d1f2-47b1-99e3-069c840331b4" providerId="ADAL" clId="{1DA7EDA1-0E59-4DF3-AACB-97850A9B83A1}" dt="2020-05-13T08:20:41.191" v="1043"/>
        <pc:sldMkLst>
          <pc:docMk/>
          <pc:sldMk cId="246492512" sldId="788"/>
        </pc:sldMkLst>
        <pc:spChg chg="add mod">
          <ac:chgData name="Anand Prabhu" userId="6c4c423f-d1f2-47b1-99e3-069c840331b4" providerId="ADAL" clId="{1DA7EDA1-0E59-4DF3-AACB-97850A9B83A1}" dt="2020-05-13T08:20:41.191" v="1043"/>
          <ac:spMkLst>
            <pc:docMk/>
            <pc:sldMk cId="246492512" sldId="788"/>
            <ac:spMk id="3" creationId="{4990528B-F760-4369-B637-3893C4A96F73}"/>
          </ac:spMkLst>
        </pc:spChg>
      </pc:sldChg>
      <pc:sldChg chg="modSp add ord">
        <pc:chgData name="Anand Prabhu" userId="6c4c423f-d1f2-47b1-99e3-069c840331b4" providerId="ADAL" clId="{1DA7EDA1-0E59-4DF3-AACB-97850A9B83A1}" dt="2020-05-13T08:40:43.329" v="1096"/>
        <pc:sldMkLst>
          <pc:docMk/>
          <pc:sldMk cId="725283395" sldId="1413"/>
        </pc:sldMkLst>
        <pc:spChg chg="mod">
          <ac:chgData name="Anand Prabhu" userId="6c4c423f-d1f2-47b1-99e3-069c840331b4" providerId="ADAL" clId="{1DA7EDA1-0E59-4DF3-AACB-97850A9B83A1}" dt="2020-05-13T07:56:58.904" v="1000" actId="20577"/>
          <ac:spMkLst>
            <pc:docMk/>
            <pc:sldMk cId="725283395" sldId="1413"/>
            <ac:spMk id="2" creationId="{00000000-0000-0000-0000-000000000000}"/>
          </ac:spMkLst>
        </pc:spChg>
      </pc:sldChg>
      <pc:sldChg chg="del">
        <pc:chgData name="Anand Prabhu" userId="6c4c423f-d1f2-47b1-99e3-069c840331b4" providerId="ADAL" clId="{1DA7EDA1-0E59-4DF3-AACB-97850A9B83A1}" dt="2020-05-13T07:08:06.462" v="26" actId="2696"/>
        <pc:sldMkLst>
          <pc:docMk/>
          <pc:sldMk cId="769135596" sldId="1413"/>
        </pc:sldMkLst>
      </pc:sldChg>
      <pc:sldChg chg="ord">
        <pc:chgData name="Anand Prabhu" userId="6c4c423f-d1f2-47b1-99e3-069c840331b4" providerId="ADAL" clId="{1DA7EDA1-0E59-4DF3-AACB-97850A9B83A1}" dt="2020-05-13T09:03:55.400" v="1514"/>
        <pc:sldMkLst>
          <pc:docMk/>
          <pc:sldMk cId="2143251001" sldId="1414"/>
        </pc:sldMkLst>
      </pc:sldChg>
      <pc:sldChg chg="delSp add del">
        <pc:chgData name="Anand Prabhu" userId="6c4c423f-d1f2-47b1-99e3-069c840331b4" providerId="ADAL" clId="{1DA7EDA1-0E59-4DF3-AACB-97850A9B83A1}" dt="2020-05-13T07:38:11.328" v="921" actId="2696"/>
        <pc:sldMkLst>
          <pc:docMk/>
          <pc:sldMk cId="1885675031" sldId="1494"/>
        </pc:sldMkLst>
        <pc:spChg chg="del">
          <ac:chgData name="Anand Prabhu" userId="6c4c423f-d1f2-47b1-99e3-069c840331b4" providerId="ADAL" clId="{1DA7EDA1-0E59-4DF3-AACB-97850A9B83A1}" dt="2020-05-13T07:36:20.336" v="915" actId="478"/>
          <ac:spMkLst>
            <pc:docMk/>
            <pc:sldMk cId="1885675031" sldId="1494"/>
            <ac:spMk id="4" creationId="{00000000-0000-0000-0000-000000000000}"/>
          </ac:spMkLst>
        </pc:spChg>
      </pc:sldChg>
      <pc:sldChg chg="add del">
        <pc:chgData name="Anand Prabhu" userId="6c4c423f-d1f2-47b1-99e3-069c840331b4" providerId="ADAL" clId="{1DA7EDA1-0E59-4DF3-AACB-97850A9B83A1}" dt="2020-05-13T07:38:11.328" v="920" actId="2696"/>
        <pc:sldMkLst>
          <pc:docMk/>
          <pc:sldMk cId="484820856" sldId="1496"/>
        </pc:sldMkLst>
      </pc:sldChg>
      <pc:sldChg chg="modSp">
        <pc:chgData name="Anand Prabhu" userId="6c4c423f-d1f2-47b1-99e3-069c840331b4" providerId="ADAL" clId="{1DA7EDA1-0E59-4DF3-AACB-97850A9B83A1}" dt="2020-05-13T07:37:37.127" v="919" actId="207"/>
        <pc:sldMkLst>
          <pc:docMk/>
          <pc:sldMk cId="1446393910" sldId="1497"/>
        </pc:sldMkLst>
        <pc:spChg chg="mod">
          <ac:chgData name="Anand Prabhu" userId="6c4c423f-d1f2-47b1-99e3-069c840331b4" providerId="ADAL" clId="{1DA7EDA1-0E59-4DF3-AACB-97850A9B83A1}" dt="2020-05-13T07:37:37.127" v="919" actId="207"/>
          <ac:spMkLst>
            <pc:docMk/>
            <pc:sldMk cId="1446393910" sldId="1497"/>
            <ac:spMk id="12" creationId="{00000000-0000-0000-0000-000000000000}"/>
          </ac:spMkLst>
        </pc:spChg>
      </pc:sldChg>
      <pc:sldChg chg="modSp">
        <pc:chgData name="Anand Prabhu" userId="6c4c423f-d1f2-47b1-99e3-069c840331b4" providerId="ADAL" clId="{1DA7EDA1-0E59-4DF3-AACB-97850A9B83A1}" dt="2020-05-13T08:53:20.006" v="1296" actId="207"/>
        <pc:sldMkLst>
          <pc:docMk/>
          <pc:sldMk cId="1541843553" sldId="1499"/>
        </pc:sldMkLst>
        <pc:spChg chg="mod">
          <ac:chgData name="Anand Prabhu" userId="6c4c423f-d1f2-47b1-99e3-069c840331b4" providerId="ADAL" clId="{1DA7EDA1-0E59-4DF3-AACB-97850A9B83A1}" dt="2020-05-13T08:53:20.006" v="1296" actId="207"/>
          <ac:spMkLst>
            <pc:docMk/>
            <pc:sldMk cId="1541843553" sldId="1499"/>
            <ac:spMk id="12" creationId="{00000000-0000-0000-0000-000000000000}"/>
          </ac:spMkLst>
        </pc:spChg>
      </pc:sldChg>
      <pc:sldChg chg="add">
        <pc:chgData name="Anand Prabhu" userId="6c4c423f-d1f2-47b1-99e3-069c840331b4" providerId="ADAL" clId="{1DA7EDA1-0E59-4DF3-AACB-97850A9B83A1}" dt="2020-05-13T08:58:37.981" v="1372"/>
        <pc:sldMkLst>
          <pc:docMk/>
          <pc:sldMk cId="536167537" sldId="1503"/>
        </pc:sldMkLst>
      </pc:sldChg>
      <pc:sldChg chg="add del">
        <pc:chgData name="Anand Prabhu" userId="6c4c423f-d1f2-47b1-99e3-069c840331b4" providerId="ADAL" clId="{1DA7EDA1-0E59-4DF3-AACB-97850A9B83A1}" dt="2020-05-13T08:57:48.705" v="1371" actId="2696"/>
        <pc:sldMkLst>
          <pc:docMk/>
          <pc:sldMk cId="785151751" sldId="1503"/>
        </pc:sldMkLst>
      </pc:sldChg>
      <pc:sldChg chg="add del ord">
        <pc:chgData name="Anand Prabhu" userId="6c4c423f-d1f2-47b1-99e3-069c840331b4" providerId="ADAL" clId="{1DA7EDA1-0E59-4DF3-AACB-97850A9B83A1}" dt="2020-05-13T08:57:24.284" v="1369" actId="2696"/>
        <pc:sldMkLst>
          <pc:docMk/>
          <pc:sldMk cId="1640564710" sldId="1503"/>
        </pc:sldMkLst>
      </pc:sldChg>
      <pc:sldChg chg="del">
        <pc:chgData name="Anand Prabhu" userId="6c4c423f-d1f2-47b1-99e3-069c840331b4" providerId="ADAL" clId="{1DA7EDA1-0E59-4DF3-AACB-97850A9B83A1}" dt="2020-05-13T08:53:11.314" v="1295" actId="2696"/>
        <pc:sldMkLst>
          <pc:docMk/>
          <pc:sldMk cId="1691825858" sldId="1666"/>
        </pc:sldMkLst>
      </pc:sldChg>
      <pc:sldChg chg="del">
        <pc:chgData name="Anand Prabhu" userId="6c4c423f-d1f2-47b1-99e3-069c840331b4" providerId="ADAL" clId="{1DA7EDA1-0E59-4DF3-AACB-97850A9B83A1}" dt="2020-05-13T08:53:58.950" v="1333" actId="2696"/>
        <pc:sldMkLst>
          <pc:docMk/>
          <pc:sldMk cId="3462005526" sldId="1675"/>
        </pc:sldMkLst>
      </pc:sldChg>
      <pc:sldChg chg="addSp delSp">
        <pc:chgData name="Anand Prabhu" userId="6c4c423f-d1f2-47b1-99e3-069c840331b4" providerId="ADAL" clId="{1DA7EDA1-0E59-4DF3-AACB-97850A9B83A1}" dt="2020-05-13T08:54:12.113" v="1336"/>
        <pc:sldMkLst>
          <pc:docMk/>
          <pc:sldMk cId="278392685" sldId="1684"/>
        </pc:sldMkLst>
        <pc:spChg chg="add del">
          <ac:chgData name="Anand Prabhu" userId="6c4c423f-d1f2-47b1-99e3-069c840331b4" providerId="ADAL" clId="{1DA7EDA1-0E59-4DF3-AACB-97850A9B83A1}" dt="2020-05-13T08:54:12.113" v="1336"/>
          <ac:spMkLst>
            <pc:docMk/>
            <pc:sldMk cId="278392685" sldId="1684"/>
            <ac:spMk id="3" creationId="{962D4936-EFC0-4B9A-9EC6-B97B0668313A}"/>
          </ac:spMkLst>
        </pc:spChg>
      </pc:sldChg>
      <pc:sldChg chg="del">
        <pc:chgData name="Anand Prabhu" userId="6c4c423f-d1f2-47b1-99e3-069c840331b4" providerId="ADAL" clId="{1DA7EDA1-0E59-4DF3-AACB-97850A9B83A1}" dt="2020-05-13T07:49:34.710" v="951" actId="2696"/>
        <pc:sldMkLst>
          <pc:docMk/>
          <pc:sldMk cId="641702813" sldId="1698"/>
        </pc:sldMkLst>
      </pc:sldChg>
      <pc:sldChg chg="add del">
        <pc:chgData name="Anand Prabhu" userId="6c4c423f-d1f2-47b1-99e3-069c840331b4" providerId="ADAL" clId="{1DA7EDA1-0E59-4DF3-AACB-97850A9B83A1}" dt="2020-05-13T08:57:17.860" v="1367" actId="2696"/>
        <pc:sldMkLst>
          <pc:docMk/>
          <pc:sldMk cId="3846560943" sldId="1715"/>
        </pc:sldMkLst>
      </pc:sldChg>
      <pc:sldChg chg="del">
        <pc:chgData name="Anand Prabhu" userId="6c4c423f-d1f2-47b1-99e3-069c840331b4" providerId="ADAL" clId="{1DA7EDA1-0E59-4DF3-AACB-97850A9B83A1}" dt="2020-05-13T08:55:26.816" v="1355" actId="2696"/>
        <pc:sldMkLst>
          <pc:docMk/>
          <pc:sldMk cId="2842606431" sldId="1720"/>
        </pc:sldMkLst>
      </pc:sldChg>
      <pc:sldChg chg="add">
        <pc:chgData name="Anand Prabhu" userId="6c4c423f-d1f2-47b1-99e3-069c840331b4" providerId="ADAL" clId="{1DA7EDA1-0E59-4DF3-AACB-97850A9B83A1}" dt="2020-05-13T08:55:42.914" v="1356"/>
        <pc:sldMkLst>
          <pc:docMk/>
          <pc:sldMk cId="3504930069" sldId="1720"/>
        </pc:sldMkLst>
      </pc:sldChg>
      <pc:sldChg chg="del">
        <pc:chgData name="Anand Prabhu" userId="6c4c423f-d1f2-47b1-99e3-069c840331b4" providerId="ADAL" clId="{1DA7EDA1-0E59-4DF3-AACB-97850A9B83A1}" dt="2020-05-13T07:52:02.951" v="986" actId="2696"/>
        <pc:sldMkLst>
          <pc:docMk/>
          <pc:sldMk cId="3193827469" sldId="1721"/>
        </pc:sldMkLst>
      </pc:sldChg>
      <pc:sldChg chg="addSp modSp ord modTransition">
        <pc:chgData name="Anand Prabhu" userId="6c4c423f-d1f2-47b1-99e3-069c840331b4" providerId="ADAL" clId="{1DA7EDA1-0E59-4DF3-AACB-97850A9B83A1}" dt="2020-05-13T07:35:12.158" v="912"/>
        <pc:sldMkLst>
          <pc:docMk/>
          <pc:sldMk cId="937551889" sldId="1723"/>
        </pc:sldMkLst>
        <pc:spChg chg="add mod">
          <ac:chgData name="Anand Prabhu" userId="6c4c423f-d1f2-47b1-99e3-069c840331b4" providerId="ADAL" clId="{1DA7EDA1-0E59-4DF3-AACB-97850A9B83A1}" dt="2020-05-13T07:35:12.158" v="912"/>
          <ac:spMkLst>
            <pc:docMk/>
            <pc:sldMk cId="937551889" sldId="1723"/>
            <ac:spMk id="3" creationId="{2F5ACD4F-09B7-4D76-AEAD-0F50A2DA9295}"/>
          </ac:spMkLst>
        </pc:spChg>
      </pc:sldChg>
      <pc:sldChg chg="modSp add del">
        <pc:chgData name="Anand Prabhu" userId="6c4c423f-d1f2-47b1-99e3-069c840331b4" providerId="ADAL" clId="{1DA7EDA1-0E59-4DF3-AACB-97850A9B83A1}" dt="2020-05-13T09:01:54.351" v="1512" actId="20577"/>
        <pc:sldMkLst>
          <pc:docMk/>
          <pc:sldMk cId="293329949" sldId="1724"/>
        </pc:sldMkLst>
        <pc:spChg chg="mod">
          <ac:chgData name="Anand Prabhu" userId="6c4c423f-d1f2-47b1-99e3-069c840331b4" providerId="ADAL" clId="{1DA7EDA1-0E59-4DF3-AACB-97850A9B83A1}" dt="2020-05-13T09:01:54.351" v="1512" actId="20577"/>
          <ac:spMkLst>
            <pc:docMk/>
            <pc:sldMk cId="293329949" sldId="1724"/>
            <ac:spMk id="3" creationId="{56C4B2DF-017A-4C85-A6DF-E3FAF102EAF8}"/>
          </ac:spMkLst>
        </pc:spChg>
      </pc:sldChg>
      <pc:sldChg chg="add del">
        <pc:chgData name="Anand Prabhu" userId="6c4c423f-d1f2-47b1-99e3-069c840331b4" providerId="ADAL" clId="{1DA7EDA1-0E59-4DF3-AACB-97850A9B83A1}" dt="2020-05-13T07:07:09.864" v="25" actId="2696"/>
        <pc:sldMkLst>
          <pc:docMk/>
          <pc:sldMk cId="2504803782" sldId="1725"/>
        </pc:sldMkLst>
      </pc:sldChg>
      <pc:sldChg chg="add del">
        <pc:chgData name="Anand Prabhu" userId="6c4c423f-d1f2-47b1-99e3-069c840331b4" providerId="ADAL" clId="{1DA7EDA1-0E59-4DF3-AACB-97850A9B83A1}" dt="2020-05-13T07:55:58.041" v="998" actId="2696"/>
        <pc:sldMkLst>
          <pc:docMk/>
          <pc:sldMk cId="802348733" sldId="1726"/>
        </pc:sldMkLst>
      </pc:sldChg>
      <pc:sldChg chg="addSp delSp modSp add del delAnim modAnim">
        <pc:chgData name="Anand Prabhu" userId="6c4c423f-d1f2-47b1-99e3-069c840331b4" providerId="ADAL" clId="{1DA7EDA1-0E59-4DF3-AACB-97850A9B83A1}" dt="2020-05-13T07:55:25.202" v="997" actId="2696"/>
        <pc:sldMkLst>
          <pc:docMk/>
          <pc:sldMk cId="3748892550" sldId="1727"/>
        </pc:sldMkLst>
        <pc:spChg chg="mod topLvl">
          <ac:chgData name="Anand Prabhu" userId="6c4c423f-d1f2-47b1-99e3-069c840331b4" providerId="ADAL" clId="{1DA7EDA1-0E59-4DF3-AACB-97850A9B83A1}" dt="2020-05-13T07:26:03.093" v="889" actId="207"/>
          <ac:spMkLst>
            <pc:docMk/>
            <pc:sldMk cId="3748892550" sldId="1727"/>
            <ac:spMk id="3" creationId="{00000000-0000-0000-0000-000000000000}"/>
          </ac:spMkLst>
        </pc:spChg>
        <pc:spChg chg="mod">
          <ac:chgData name="Anand Prabhu" userId="6c4c423f-d1f2-47b1-99e3-069c840331b4" providerId="ADAL" clId="{1DA7EDA1-0E59-4DF3-AACB-97850A9B83A1}" dt="2020-05-13T07:27:04.588" v="906" actId="1036"/>
          <ac:spMkLst>
            <pc:docMk/>
            <pc:sldMk cId="3748892550" sldId="1727"/>
            <ac:spMk id="4" creationId="{00000000-0000-0000-0000-000000000000}"/>
          </ac:spMkLst>
        </pc:spChg>
        <pc:spChg chg="mod">
          <ac:chgData name="Anand Prabhu" userId="6c4c423f-d1f2-47b1-99e3-069c840331b4" providerId="ADAL" clId="{1DA7EDA1-0E59-4DF3-AACB-97850A9B83A1}" dt="2020-05-13T07:24:59.248" v="856" actId="1036"/>
          <ac:spMkLst>
            <pc:docMk/>
            <pc:sldMk cId="3748892550" sldId="1727"/>
            <ac:spMk id="5" creationId="{00000000-0000-0000-0000-000000000000}"/>
          </ac:spMkLst>
        </pc:spChg>
        <pc:spChg chg="mod">
          <ac:chgData name="Anand Prabhu" userId="6c4c423f-d1f2-47b1-99e3-069c840331b4" providerId="ADAL" clId="{1DA7EDA1-0E59-4DF3-AACB-97850A9B83A1}" dt="2020-05-13T07:24:59.248" v="856" actId="1036"/>
          <ac:spMkLst>
            <pc:docMk/>
            <pc:sldMk cId="3748892550" sldId="1727"/>
            <ac:spMk id="6" creationId="{00000000-0000-0000-0000-000000000000}"/>
          </ac:spMkLst>
        </pc:spChg>
        <pc:spChg chg="mod">
          <ac:chgData name="Anand Prabhu" userId="6c4c423f-d1f2-47b1-99e3-069c840331b4" providerId="ADAL" clId="{1DA7EDA1-0E59-4DF3-AACB-97850A9B83A1}" dt="2020-05-13T07:24:59.248" v="856" actId="1036"/>
          <ac:spMkLst>
            <pc:docMk/>
            <pc:sldMk cId="3748892550" sldId="1727"/>
            <ac:spMk id="7" creationId="{00000000-0000-0000-0000-000000000000}"/>
          </ac:spMkLst>
        </pc:spChg>
        <pc:spChg chg="mod">
          <ac:chgData name="Anand Prabhu" userId="6c4c423f-d1f2-47b1-99e3-069c840331b4" providerId="ADAL" clId="{1DA7EDA1-0E59-4DF3-AACB-97850A9B83A1}" dt="2020-05-13T07:24:59.248" v="856" actId="1036"/>
          <ac:spMkLst>
            <pc:docMk/>
            <pc:sldMk cId="3748892550" sldId="1727"/>
            <ac:spMk id="8" creationId="{00000000-0000-0000-0000-000000000000}"/>
          </ac:spMkLst>
        </pc:spChg>
        <pc:spChg chg="del">
          <ac:chgData name="Anand Prabhu" userId="6c4c423f-d1f2-47b1-99e3-069c840331b4" providerId="ADAL" clId="{1DA7EDA1-0E59-4DF3-AACB-97850A9B83A1}" dt="2020-05-13T07:20:03.117" v="303" actId="478"/>
          <ac:spMkLst>
            <pc:docMk/>
            <pc:sldMk cId="3748892550" sldId="1727"/>
            <ac:spMk id="9" creationId="{00000000-0000-0000-0000-000000000000}"/>
          </ac:spMkLst>
        </pc:spChg>
        <pc:spChg chg="del mod">
          <ac:chgData name="Anand Prabhu" userId="6c4c423f-d1f2-47b1-99e3-069c840331b4" providerId="ADAL" clId="{1DA7EDA1-0E59-4DF3-AACB-97850A9B83A1}" dt="2020-05-13T07:18:46.702" v="104" actId="478"/>
          <ac:spMkLst>
            <pc:docMk/>
            <pc:sldMk cId="3748892550" sldId="1727"/>
            <ac:spMk id="26" creationId="{00000000-0000-0000-0000-000000000000}"/>
          </ac:spMkLst>
        </pc:spChg>
        <pc:spChg chg="del">
          <ac:chgData name="Anand Prabhu" userId="6c4c423f-d1f2-47b1-99e3-069c840331b4" providerId="ADAL" clId="{1DA7EDA1-0E59-4DF3-AACB-97850A9B83A1}" dt="2020-05-13T07:18:50.295" v="105" actId="478"/>
          <ac:spMkLst>
            <pc:docMk/>
            <pc:sldMk cId="3748892550" sldId="1727"/>
            <ac:spMk id="27" creationId="{00000000-0000-0000-0000-000000000000}"/>
          </ac:spMkLst>
        </pc:spChg>
        <pc:spChg chg="del mod">
          <ac:chgData name="Anand Prabhu" userId="6c4c423f-d1f2-47b1-99e3-069c840331b4" providerId="ADAL" clId="{1DA7EDA1-0E59-4DF3-AACB-97850A9B83A1}" dt="2020-05-13T07:18:54.123" v="107" actId="478"/>
          <ac:spMkLst>
            <pc:docMk/>
            <pc:sldMk cId="3748892550" sldId="1727"/>
            <ac:spMk id="28" creationId="{00000000-0000-0000-0000-000000000000}"/>
          </ac:spMkLst>
        </pc:spChg>
        <pc:spChg chg="del">
          <ac:chgData name="Anand Prabhu" userId="6c4c423f-d1f2-47b1-99e3-069c840331b4" providerId="ADAL" clId="{1DA7EDA1-0E59-4DF3-AACB-97850A9B83A1}" dt="2020-05-13T07:18:58.643" v="108" actId="478"/>
          <ac:spMkLst>
            <pc:docMk/>
            <pc:sldMk cId="3748892550" sldId="1727"/>
            <ac:spMk id="29" creationId="{00000000-0000-0000-0000-000000000000}"/>
          </ac:spMkLst>
        </pc:spChg>
        <pc:spChg chg="del">
          <ac:chgData name="Anand Prabhu" userId="6c4c423f-d1f2-47b1-99e3-069c840331b4" providerId="ADAL" clId="{1DA7EDA1-0E59-4DF3-AACB-97850A9B83A1}" dt="2020-05-13T07:18:40.392" v="102" actId="478"/>
          <ac:spMkLst>
            <pc:docMk/>
            <pc:sldMk cId="3748892550" sldId="1727"/>
            <ac:spMk id="32" creationId="{00000000-0000-0000-0000-000000000000}"/>
          </ac:spMkLst>
        </pc:spChg>
        <pc:spChg chg="add mod">
          <ac:chgData name="Anand Prabhu" userId="6c4c423f-d1f2-47b1-99e3-069c840331b4" providerId="ADAL" clId="{1DA7EDA1-0E59-4DF3-AACB-97850A9B83A1}" dt="2020-05-13T07:26:33.620" v="892" actId="207"/>
          <ac:spMkLst>
            <pc:docMk/>
            <pc:sldMk cId="3748892550" sldId="1727"/>
            <ac:spMk id="33" creationId="{7439A10F-92A1-4516-898C-80544F6404AC}"/>
          </ac:spMkLst>
        </pc:spChg>
        <pc:spChg chg="add mod">
          <ac:chgData name="Anand Prabhu" userId="6c4c423f-d1f2-47b1-99e3-069c840331b4" providerId="ADAL" clId="{1DA7EDA1-0E59-4DF3-AACB-97850A9B83A1}" dt="2020-05-13T07:26:58.548" v="895" actId="208"/>
          <ac:spMkLst>
            <pc:docMk/>
            <pc:sldMk cId="3748892550" sldId="1727"/>
            <ac:spMk id="34" creationId="{2B4ABB4A-0D3F-46A9-8597-48A774D18102}"/>
          </ac:spMkLst>
        </pc:spChg>
        <pc:spChg chg="add del mod">
          <ac:chgData name="Anand Prabhu" userId="6c4c423f-d1f2-47b1-99e3-069c840331b4" providerId="ADAL" clId="{1DA7EDA1-0E59-4DF3-AACB-97850A9B83A1}" dt="2020-05-13T07:23:45.949" v="746" actId="478"/>
          <ac:spMkLst>
            <pc:docMk/>
            <pc:sldMk cId="3748892550" sldId="1727"/>
            <ac:spMk id="35" creationId="{1E4D001A-090C-4922-A6E4-47B7EE1B24A7}"/>
          </ac:spMkLst>
        </pc:spChg>
        <pc:spChg chg="add mod">
          <ac:chgData name="Anand Prabhu" userId="6c4c423f-d1f2-47b1-99e3-069c840331b4" providerId="ADAL" clId="{1DA7EDA1-0E59-4DF3-AACB-97850A9B83A1}" dt="2020-05-13T07:25:31.108" v="886" actId="1035"/>
          <ac:spMkLst>
            <pc:docMk/>
            <pc:sldMk cId="3748892550" sldId="1727"/>
            <ac:spMk id="36" creationId="{6ED312C3-008D-4426-B1F1-E1E84952500D}"/>
          </ac:spMkLst>
        </pc:spChg>
        <pc:spChg chg="add del">
          <ac:chgData name="Anand Prabhu" userId="6c4c423f-d1f2-47b1-99e3-069c840331b4" providerId="ADAL" clId="{1DA7EDA1-0E59-4DF3-AACB-97850A9B83A1}" dt="2020-05-13T07:23:50.087" v="748"/>
          <ac:spMkLst>
            <pc:docMk/>
            <pc:sldMk cId="3748892550" sldId="1727"/>
            <ac:spMk id="37" creationId="{7175697E-170C-4104-A8D5-BAF3A0BCBF32}"/>
          </ac:spMkLst>
        </pc:spChg>
        <pc:spChg chg="add del mod">
          <ac:chgData name="Anand Prabhu" userId="6c4c423f-d1f2-47b1-99e3-069c840331b4" providerId="ADAL" clId="{1DA7EDA1-0E59-4DF3-AACB-97850A9B83A1}" dt="2020-05-13T07:24:12.285" v="799" actId="478"/>
          <ac:spMkLst>
            <pc:docMk/>
            <pc:sldMk cId="3748892550" sldId="1727"/>
            <ac:spMk id="38" creationId="{0087064D-71B9-48D8-A6D1-95A3F4FF9E4D}"/>
          </ac:spMkLst>
        </pc:spChg>
        <pc:spChg chg="add mod">
          <ac:chgData name="Anand Prabhu" userId="6c4c423f-d1f2-47b1-99e3-069c840331b4" providerId="ADAL" clId="{1DA7EDA1-0E59-4DF3-AACB-97850A9B83A1}" dt="2020-05-13T07:26:13.529" v="890" actId="207"/>
          <ac:spMkLst>
            <pc:docMk/>
            <pc:sldMk cId="3748892550" sldId="1727"/>
            <ac:spMk id="39" creationId="{20B3BDE7-13B3-467C-9F07-A4B71DA6C3BD}"/>
          </ac:spMkLst>
        </pc:spChg>
        <pc:grpChg chg="del">
          <ac:chgData name="Anand Prabhu" userId="6c4c423f-d1f2-47b1-99e3-069c840331b4" providerId="ADAL" clId="{1DA7EDA1-0E59-4DF3-AACB-97850A9B83A1}" dt="2020-05-13T07:20:23.691" v="306" actId="478"/>
          <ac:grpSpMkLst>
            <pc:docMk/>
            <pc:sldMk cId="3748892550" sldId="1727"/>
            <ac:grpSpMk id="10" creationId="{00000000-0000-0000-0000-000000000000}"/>
          </ac:grpSpMkLst>
        </pc:grpChg>
        <pc:grpChg chg="del">
          <ac:chgData name="Anand Prabhu" userId="6c4c423f-d1f2-47b1-99e3-069c840331b4" providerId="ADAL" clId="{1DA7EDA1-0E59-4DF3-AACB-97850A9B83A1}" dt="2020-05-13T07:20:05.351" v="304" actId="478"/>
          <ac:grpSpMkLst>
            <pc:docMk/>
            <pc:sldMk cId="3748892550" sldId="1727"/>
            <ac:grpSpMk id="14" creationId="{00000000-0000-0000-0000-000000000000}"/>
          </ac:grpSpMkLst>
        </pc:grpChg>
        <pc:grpChg chg="del">
          <ac:chgData name="Anand Prabhu" userId="6c4c423f-d1f2-47b1-99e3-069c840331b4" providerId="ADAL" clId="{1DA7EDA1-0E59-4DF3-AACB-97850A9B83A1}" dt="2020-05-13T07:20:11.409" v="305" actId="478"/>
          <ac:grpSpMkLst>
            <pc:docMk/>
            <pc:sldMk cId="3748892550" sldId="1727"/>
            <ac:grpSpMk id="19" creationId="{00000000-0000-0000-0000-000000000000}"/>
          </ac:grpSpMkLst>
        </pc:grpChg>
        <pc:grpChg chg="del mod">
          <ac:chgData name="Anand Prabhu" userId="6c4c423f-d1f2-47b1-99e3-069c840331b4" providerId="ADAL" clId="{1DA7EDA1-0E59-4DF3-AACB-97850A9B83A1}" dt="2020-05-13T07:20:55.016" v="389" actId="478"/>
          <ac:grpSpMkLst>
            <pc:docMk/>
            <pc:sldMk cId="3748892550" sldId="1727"/>
            <ac:grpSpMk id="31" creationId="{00000000-0000-0000-0000-000000000000}"/>
          </ac:grpSpMkLst>
        </pc:grpChg>
        <pc:picChg chg="del topLvl">
          <ac:chgData name="Anand Prabhu" userId="6c4c423f-d1f2-47b1-99e3-069c840331b4" providerId="ADAL" clId="{1DA7EDA1-0E59-4DF3-AACB-97850A9B83A1}" dt="2020-05-13T07:20:55.016" v="389" actId="478"/>
          <ac:picMkLst>
            <pc:docMk/>
            <pc:sldMk cId="3748892550" sldId="1727"/>
            <ac:picMk id="30" creationId="{00000000-0000-0000-0000-000000000000}"/>
          </ac:picMkLst>
        </pc:picChg>
      </pc:sldChg>
      <pc:sldChg chg="add del">
        <pc:chgData name="Anand Prabhu" userId="6c4c423f-d1f2-47b1-99e3-069c840331b4" providerId="ADAL" clId="{1DA7EDA1-0E59-4DF3-AACB-97850A9B83A1}" dt="2020-05-13T07:35:14.795" v="913" actId="2696"/>
        <pc:sldMkLst>
          <pc:docMk/>
          <pc:sldMk cId="4124844402" sldId="1728"/>
        </pc:sldMkLst>
      </pc:sldChg>
      <pc:sldChg chg="addSp delSp modSp add del">
        <pc:chgData name="Anand Prabhu" userId="6c4c423f-d1f2-47b1-99e3-069c840331b4" providerId="ADAL" clId="{1DA7EDA1-0E59-4DF3-AACB-97850A9B83A1}" dt="2020-05-13T08:20:41.075" v="1039" actId="2696"/>
        <pc:sldMkLst>
          <pc:docMk/>
          <pc:sldMk cId="2126895895" sldId="2439"/>
        </pc:sldMkLst>
        <pc:spChg chg="mod">
          <ac:chgData name="Anand Prabhu" userId="6c4c423f-d1f2-47b1-99e3-069c840331b4" providerId="ADAL" clId="{1DA7EDA1-0E59-4DF3-AACB-97850A9B83A1}" dt="2020-05-13T07:46:12.219" v="934" actId="27636"/>
          <ac:spMkLst>
            <pc:docMk/>
            <pc:sldMk cId="2126895895" sldId="2439"/>
            <ac:spMk id="2" creationId="{990ECCF9-375D-4FCB-B4A7-96CA1132524F}"/>
          </ac:spMkLst>
        </pc:spChg>
        <pc:spChg chg="add del mod">
          <ac:chgData name="Anand Prabhu" userId="6c4c423f-d1f2-47b1-99e3-069c840331b4" providerId="ADAL" clId="{1DA7EDA1-0E59-4DF3-AACB-97850A9B83A1}" dt="2020-05-13T07:46:15.637" v="936" actId="478"/>
          <ac:spMkLst>
            <pc:docMk/>
            <pc:sldMk cId="2126895895" sldId="2439"/>
            <ac:spMk id="4" creationId="{E67633A5-FB73-4E7C-B077-4F88CE1F464D}"/>
          </ac:spMkLst>
        </pc:spChg>
      </pc:sldChg>
      <pc:sldChg chg="modSp add del">
        <pc:chgData name="Anand Prabhu" userId="6c4c423f-d1f2-47b1-99e3-069c840331b4" providerId="ADAL" clId="{1DA7EDA1-0E59-4DF3-AACB-97850A9B83A1}" dt="2020-05-13T08:20:41.191" v="1042" actId="2696"/>
        <pc:sldMkLst>
          <pc:docMk/>
          <pc:sldMk cId="3400647594" sldId="2447"/>
        </pc:sldMkLst>
        <pc:spChg chg="mod">
          <ac:chgData name="Anand Prabhu" userId="6c4c423f-d1f2-47b1-99e3-069c840331b4" providerId="ADAL" clId="{1DA7EDA1-0E59-4DF3-AACB-97850A9B83A1}" dt="2020-05-13T07:47:31.533" v="950" actId="27636"/>
          <ac:spMkLst>
            <pc:docMk/>
            <pc:sldMk cId="3400647594" sldId="2447"/>
            <ac:spMk id="2" creationId="{04F187FE-5D54-48BC-BACA-B6BEBE8B2939}"/>
          </ac:spMkLst>
        </pc:spChg>
        <pc:spChg chg="mod">
          <ac:chgData name="Anand Prabhu" userId="6c4c423f-d1f2-47b1-99e3-069c840331b4" providerId="ADAL" clId="{1DA7EDA1-0E59-4DF3-AACB-97850A9B83A1}" dt="2020-05-13T07:47:23.908" v="946" actId="27636"/>
          <ac:spMkLst>
            <pc:docMk/>
            <pc:sldMk cId="3400647594" sldId="2447"/>
            <ac:spMk id="11" creationId="{D45C60D0-48D9-4FAF-87CA-2676BD8521A6}"/>
          </ac:spMkLst>
        </pc:spChg>
      </pc:sldChg>
      <pc:sldChg chg="modSp add del">
        <pc:chgData name="Anand Prabhu" userId="6c4c423f-d1f2-47b1-99e3-069c840331b4" providerId="ADAL" clId="{1DA7EDA1-0E59-4DF3-AACB-97850A9B83A1}" dt="2020-05-13T08:20:41.138" v="1040" actId="2696"/>
        <pc:sldMkLst>
          <pc:docMk/>
          <pc:sldMk cId="634108600" sldId="2449"/>
        </pc:sldMkLst>
        <pc:spChg chg="mod">
          <ac:chgData name="Anand Prabhu" userId="6c4c423f-d1f2-47b1-99e3-069c840331b4" providerId="ADAL" clId="{1DA7EDA1-0E59-4DF3-AACB-97850A9B83A1}" dt="2020-05-13T07:46:55.657" v="940" actId="20577"/>
          <ac:spMkLst>
            <pc:docMk/>
            <pc:sldMk cId="634108600" sldId="2449"/>
            <ac:spMk id="2" creationId="{990ECCF9-375D-4FCB-B4A7-96CA1132524F}"/>
          </ac:spMkLst>
        </pc:spChg>
        <pc:spChg chg="mod">
          <ac:chgData name="Anand Prabhu" userId="6c4c423f-d1f2-47b1-99e3-069c840331b4" providerId="ADAL" clId="{1DA7EDA1-0E59-4DF3-AACB-97850A9B83A1}" dt="2020-05-13T07:46:50.149" v="938" actId="27636"/>
          <ac:spMkLst>
            <pc:docMk/>
            <pc:sldMk cId="634108600" sldId="2449"/>
            <ac:spMk id="3" creationId="{33A1CDAE-AB64-4E8C-9F83-73FBAC3FED0C}"/>
          </ac:spMkLst>
        </pc:spChg>
      </pc:sldChg>
      <pc:sldChg chg="addSp delSp modSp add del">
        <pc:chgData name="Anand Prabhu" userId="6c4c423f-d1f2-47b1-99e3-069c840331b4" providerId="ADAL" clId="{1DA7EDA1-0E59-4DF3-AACB-97850A9B83A1}" dt="2020-05-13T08:20:41.175" v="1041" actId="2696"/>
        <pc:sldMkLst>
          <pc:docMk/>
          <pc:sldMk cId="1373135985" sldId="2461"/>
        </pc:sldMkLst>
        <pc:spChg chg="mod">
          <ac:chgData name="Anand Prabhu" userId="6c4c423f-d1f2-47b1-99e3-069c840331b4" providerId="ADAL" clId="{1DA7EDA1-0E59-4DF3-AACB-97850A9B83A1}" dt="2020-05-13T07:47:04.116" v="943" actId="27636"/>
          <ac:spMkLst>
            <pc:docMk/>
            <pc:sldMk cId="1373135985" sldId="2461"/>
            <ac:spMk id="2" creationId="{990ECCF9-375D-4FCB-B4A7-96CA1132524F}"/>
          </ac:spMkLst>
        </pc:spChg>
        <pc:spChg chg="add del mod">
          <ac:chgData name="Anand Prabhu" userId="6c4c423f-d1f2-47b1-99e3-069c840331b4" providerId="ADAL" clId="{1DA7EDA1-0E59-4DF3-AACB-97850A9B83A1}" dt="2020-05-13T07:47:15.456" v="945" actId="478"/>
          <ac:spMkLst>
            <pc:docMk/>
            <pc:sldMk cId="1373135985" sldId="2461"/>
            <ac:spMk id="3" creationId="{88A083A1-3602-4E16-88BD-DE0A072A77A2}"/>
          </ac:spMkLst>
        </pc:spChg>
      </pc:sldChg>
      <pc:sldChg chg="add ord modTransition">
        <pc:chgData name="Anand Prabhu" userId="6c4c423f-d1f2-47b1-99e3-069c840331b4" providerId="ADAL" clId="{1DA7EDA1-0E59-4DF3-AACB-97850A9B83A1}" dt="2020-05-13T08:46:25.216" v="1192"/>
        <pc:sldMkLst>
          <pc:docMk/>
          <pc:sldMk cId="4133487147" sldId="4539"/>
        </pc:sldMkLst>
      </pc:sldChg>
      <pc:sldChg chg="add modTransition">
        <pc:chgData name="Anand Prabhu" userId="6c4c423f-d1f2-47b1-99e3-069c840331b4" providerId="ADAL" clId="{1DA7EDA1-0E59-4DF3-AACB-97850A9B83A1}" dt="2020-05-13T07:56:21.506" v="999"/>
        <pc:sldMkLst>
          <pc:docMk/>
          <pc:sldMk cId="79418590" sldId="4544"/>
        </pc:sldMkLst>
      </pc:sldChg>
      <pc:sldChg chg="add del">
        <pc:chgData name="Anand Prabhu" userId="6c4c423f-d1f2-47b1-99e3-069c840331b4" providerId="ADAL" clId="{1DA7EDA1-0E59-4DF3-AACB-97850A9B83A1}" dt="2020-05-13T08:56:21.948" v="1360" actId="2696"/>
        <pc:sldMkLst>
          <pc:docMk/>
          <pc:sldMk cId="1363997982" sldId="4550"/>
        </pc:sldMkLst>
      </pc:sldChg>
      <pc:sldChg chg="add del ord modTransition setBg">
        <pc:chgData name="Anand Prabhu" userId="6c4c423f-d1f2-47b1-99e3-069c840331b4" providerId="ADAL" clId="{1DA7EDA1-0E59-4DF3-AACB-97850A9B83A1}" dt="2020-05-13T08:48:34.042" v="1200" actId="2696"/>
        <pc:sldMkLst>
          <pc:docMk/>
          <pc:sldMk cId="3207251887" sldId="4550"/>
        </pc:sldMkLst>
      </pc:sldChg>
      <pc:sldChg chg="add">
        <pc:chgData name="Anand Prabhu" userId="6c4c423f-d1f2-47b1-99e3-069c840331b4" providerId="ADAL" clId="{1DA7EDA1-0E59-4DF3-AACB-97850A9B83A1}" dt="2020-05-13T08:56:27.875" v="1361"/>
        <pc:sldMkLst>
          <pc:docMk/>
          <pc:sldMk cId="3513949734" sldId="4550"/>
        </pc:sldMkLst>
      </pc:sldChg>
      <pc:sldChg chg="add">
        <pc:chgData name="Anand Prabhu" userId="6c4c423f-d1f2-47b1-99e3-069c840331b4" providerId="ADAL" clId="{1DA7EDA1-0E59-4DF3-AACB-97850A9B83A1}" dt="2020-05-13T08:56:27.875" v="1361"/>
        <pc:sldMkLst>
          <pc:docMk/>
          <pc:sldMk cId="2561398617" sldId="4551"/>
        </pc:sldMkLst>
      </pc:sldChg>
      <pc:sldChg chg="addSp delSp modSp add del">
        <pc:chgData name="Anand Prabhu" userId="6c4c423f-d1f2-47b1-99e3-069c840331b4" providerId="ADAL" clId="{1DA7EDA1-0E59-4DF3-AACB-97850A9B83A1}" dt="2020-05-13T08:56:21.934" v="1359" actId="2696"/>
        <pc:sldMkLst>
          <pc:docMk/>
          <pc:sldMk cId="2687385213" sldId="4551"/>
        </pc:sldMkLst>
        <pc:spChg chg="del">
          <ac:chgData name="Anand Prabhu" userId="6c4c423f-d1f2-47b1-99e3-069c840331b4" providerId="ADAL" clId="{1DA7EDA1-0E59-4DF3-AACB-97850A9B83A1}" dt="2020-05-13T08:41:37.810" v="1098"/>
          <ac:spMkLst>
            <pc:docMk/>
            <pc:sldMk cId="2687385213" sldId="4551"/>
            <ac:spMk id="2" creationId="{3F511ED2-B2FB-4213-B297-9DB36A7F8628}"/>
          </ac:spMkLst>
        </pc:spChg>
        <pc:spChg chg="del">
          <ac:chgData name="Anand Prabhu" userId="6c4c423f-d1f2-47b1-99e3-069c840331b4" providerId="ADAL" clId="{1DA7EDA1-0E59-4DF3-AACB-97850A9B83A1}" dt="2020-05-13T08:41:37.810" v="1098"/>
          <ac:spMkLst>
            <pc:docMk/>
            <pc:sldMk cId="2687385213" sldId="4551"/>
            <ac:spMk id="3" creationId="{D0F1B5EC-58DD-415A-A75F-DFEB5CCDAE13}"/>
          </ac:spMkLst>
        </pc:spChg>
        <pc:spChg chg="add mod">
          <ac:chgData name="Anand Prabhu" userId="6c4c423f-d1f2-47b1-99e3-069c840331b4" providerId="ADAL" clId="{1DA7EDA1-0E59-4DF3-AACB-97850A9B83A1}" dt="2020-05-13T08:41:54.719" v="1134" actId="20577"/>
          <ac:spMkLst>
            <pc:docMk/>
            <pc:sldMk cId="2687385213" sldId="4551"/>
            <ac:spMk id="4" creationId="{0CBBCC2F-A72A-4C83-B55B-854D4744619E}"/>
          </ac:spMkLst>
        </pc:spChg>
        <pc:spChg chg="add mod">
          <ac:chgData name="Anand Prabhu" userId="6c4c423f-d1f2-47b1-99e3-069c840331b4" providerId="ADAL" clId="{1DA7EDA1-0E59-4DF3-AACB-97850A9B83A1}" dt="2020-05-13T08:41:50.284" v="1123" actId="20577"/>
          <ac:spMkLst>
            <pc:docMk/>
            <pc:sldMk cId="2687385213" sldId="4551"/>
            <ac:spMk id="5" creationId="{309F469F-455A-45B1-A682-1C40A1BBBC5A}"/>
          </ac:spMkLst>
        </pc:spChg>
      </pc:sldChg>
      <pc:sldChg chg="modSp add">
        <pc:chgData name="Anand Prabhu" userId="6c4c423f-d1f2-47b1-99e3-069c840331b4" providerId="ADAL" clId="{1DA7EDA1-0E59-4DF3-AACB-97850A9B83A1}" dt="2020-05-13T08:42:35.102" v="1165" actId="20577"/>
        <pc:sldMkLst>
          <pc:docMk/>
          <pc:sldMk cId="255522928" sldId="4552"/>
        </pc:sldMkLst>
        <pc:spChg chg="mod">
          <ac:chgData name="Anand Prabhu" userId="6c4c423f-d1f2-47b1-99e3-069c840331b4" providerId="ADAL" clId="{1DA7EDA1-0E59-4DF3-AACB-97850A9B83A1}" dt="2020-05-13T08:42:24.187" v="1147" actId="20577"/>
          <ac:spMkLst>
            <pc:docMk/>
            <pc:sldMk cId="255522928" sldId="4552"/>
            <ac:spMk id="4" creationId="{0CBBCC2F-A72A-4C83-B55B-854D4744619E}"/>
          </ac:spMkLst>
        </pc:spChg>
        <pc:spChg chg="mod">
          <ac:chgData name="Anand Prabhu" userId="6c4c423f-d1f2-47b1-99e3-069c840331b4" providerId="ADAL" clId="{1DA7EDA1-0E59-4DF3-AACB-97850A9B83A1}" dt="2020-05-13T08:42:35.102" v="1165" actId="20577"/>
          <ac:spMkLst>
            <pc:docMk/>
            <pc:sldMk cId="255522928" sldId="4552"/>
            <ac:spMk id="5" creationId="{309F469F-455A-45B1-A682-1C40A1BBBC5A}"/>
          </ac:spMkLst>
        </pc:spChg>
      </pc:sldChg>
      <pc:sldChg chg="modSp add">
        <pc:chgData name="Anand Prabhu" userId="6c4c423f-d1f2-47b1-99e3-069c840331b4" providerId="ADAL" clId="{1DA7EDA1-0E59-4DF3-AACB-97850A9B83A1}" dt="2020-05-13T08:46:15.910" v="1191" actId="20577"/>
        <pc:sldMkLst>
          <pc:docMk/>
          <pc:sldMk cId="1537084499" sldId="4553"/>
        </pc:sldMkLst>
        <pc:spChg chg="mod">
          <ac:chgData name="Anand Prabhu" userId="6c4c423f-d1f2-47b1-99e3-069c840331b4" providerId="ADAL" clId="{1DA7EDA1-0E59-4DF3-AACB-97850A9B83A1}" dt="2020-05-13T08:46:15.910" v="1191" actId="20577"/>
          <ac:spMkLst>
            <pc:docMk/>
            <pc:sldMk cId="1537084499" sldId="4553"/>
            <ac:spMk id="4" creationId="{0CBBCC2F-A72A-4C83-B55B-854D4744619E}"/>
          </ac:spMkLst>
        </pc:spChg>
        <pc:spChg chg="mod">
          <ac:chgData name="Anand Prabhu" userId="6c4c423f-d1f2-47b1-99e3-069c840331b4" providerId="ADAL" clId="{1DA7EDA1-0E59-4DF3-AACB-97850A9B83A1}" dt="2020-05-13T08:46:08.993" v="1179" actId="20577"/>
          <ac:spMkLst>
            <pc:docMk/>
            <pc:sldMk cId="1537084499" sldId="4553"/>
            <ac:spMk id="5" creationId="{309F469F-455A-45B1-A682-1C40A1BBBC5A}"/>
          </ac:spMkLst>
        </pc:spChg>
      </pc:sldChg>
      <pc:sldChg chg="modSp add">
        <pc:chgData name="Anand Prabhu" userId="6c4c423f-d1f2-47b1-99e3-069c840331b4" providerId="ADAL" clId="{1DA7EDA1-0E59-4DF3-AACB-97850A9B83A1}" dt="2020-05-13T08:49:16.231" v="1223" actId="20577"/>
        <pc:sldMkLst>
          <pc:docMk/>
          <pc:sldMk cId="3828036671" sldId="4554"/>
        </pc:sldMkLst>
        <pc:spChg chg="mod">
          <ac:chgData name="Anand Prabhu" userId="6c4c423f-d1f2-47b1-99e3-069c840331b4" providerId="ADAL" clId="{1DA7EDA1-0E59-4DF3-AACB-97850A9B83A1}" dt="2020-05-13T08:49:16.231" v="1223" actId="20577"/>
          <ac:spMkLst>
            <pc:docMk/>
            <pc:sldMk cId="3828036671" sldId="4554"/>
            <ac:spMk id="4" creationId="{0CBBCC2F-A72A-4C83-B55B-854D4744619E}"/>
          </ac:spMkLst>
        </pc:spChg>
      </pc:sldChg>
      <pc:sldChg chg="modSp add">
        <pc:chgData name="Anand Prabhu" userId="6c4c423f-d1f2-47b1-99e3-069c840331b4" providerId="ADAL" clId="{1DA7EDA1-0E59-4DF3-AACB-97850A9B83A1}" dt="2020-05-13T08:52:25.560" v="1263" actId="313"/>
        <pc:sldMkLst>
          <pc:docMk/>
          <pc:sldMk cId="2911870159" sldId="4555"/>
        </pc:sldMkLst>
        <pc:spChg chg="mod">
          <ac:chgData name="Anand Prabhu" userId="6c4c423f-d1f2-47b1-99e3-069c840331b4" providerId="ADAL" clId="{1DA7EDA1-0E59-4DF3-AACB-97850A9B83A1}" dt="2020-05-13T08:52:25.560" v="1263" actId="313"/>
          <ac:spMkLst>
            <pc:docMk/>
            <pc:sldMk cId="2911870159" sldId="4555"/>
            <ac:spMk id="4" creationId="{0CBBCC2F-A72A-4C83-B55B-854D4744619E}"/>
          </ac:spMkLst>
        </pc:spChg>
        <pc:spChg chg="mod">
          <ac:chgData name="Anand Prabhu" userId="6c4c423f-d1f2-47b1-99e3-069c840331b4" providerId="ADAL" clId="{1DA7EDA1-0E59-4DF3-AACB-97850A9B83A1}" dt="2020-05-13T08:52:05.554" v="1245" actId="20577"/>
          <ac:spMkLst>
            <pc:docMk/>
            <pc:sldMk cId="2911870159" sldId="4555"/>
            <ac:spMk id="5" creationId="{309F469F-455A-45B1-A682-1C40A1BBBC5A}"/>
          </ac:spMkLst>
        </pc:spChg>
      </pc:sldChg>
      <pc:sldChg chg="modSp add">
        <pc:chgData name="Anand Prabhu" userId="6c4c423f-d1f2-47b1-99e3-069c840331b4" providerId="ADAL" clId="{1DA7EDA1-0E59-4DF3-AACB-97850A9B83A1}" dt="2020-05-13T08:53:08.461" v="1294" actId="20577"/>
        <pc:sldMkLst>
          <pc:docMk/>
          <pc:sldMk cId="3532437932" sldId="4556"/>
        </pc:sldMkLst>
        <pc:spChg chg="mod">
          <ac:chgData name="Anand Prabhu" userId="6c4c423f-d1f2-47b1-99e3-069c840331b4" providerId="ADAL" clId="{1DA7EDA1-0E59-4DF3-AACB-97850A9B83A1}" dt="2020-05-13T08:53:08.461" v="1294" actId="20577"/>
          <ac:spMkLst>
            <pc:docMk/>
            <pc:sldMk cId="3532437932" sldId="4556"/>
            <ac:spMk id="4" creationId="{0CBBCC2F-A72A-4C83-B55B-854D4744619E}"/>
          </ac:spMkLst>
        </pc:spChg>
      </pc:sldChg>
      <pc:sldChg chg="modSp add">
        <pc:chgData name="Anand Prabhu" userId="6c4c423f-d1f2-47b1-99e3-069c840331b4" providerId="ADAL" clId="{1DA7EDA1-0E59-4DF3-AACB-97850A9B83A1}" dt="2020-05-13T08:53:44.975" v="1332" actId="20577"/>
        <pc:sldMkLst>
          <pc:docMk/>
          <pc:sldMk cId="3701357678" sldId="4557"/>
        </pc:sldMkLst>
        <pc:spChg chg="mod">
          <ac:chgData name="Anand Prabhu" userId="6c4c423f-d1f2-47b1-99e3-069c840331b4" providerId="ADAL" clId="{1DA7EDA1-0E59-4DF3-AACB-97850A9B83A1}" dt="2020-05-13T08:53:44.975" v="1332" actId="20577"/>
          <ac:spMkLst>
            <pc:docMk/>
            <pc:sldMk cId="3701357678" sldId="4557"/>
            <ac:spMk id="4" creationId="{0CBBCC2F-A72A-4C83-B55B-854D4744619E}"/>
          </ac:spMkLst>
        </pc:spChg>
      </pc:sldChg>
      <pc:sldChg chg="modSp add">
        <pc:chgData name="Anand Prabhu" userId="6c4c423f-d1f2-47b1-99e3-069c840331b4" providerId="ADAL" clId="{1DA7EDA1-0E59-4DF3-AACB-97850A9B83A1}" dt="2020-05-13T08:54:49.266" v="1354" actId="6549"/>
        <pc:sldMkLst>
          <pc:docMk/>
          <pc:sldMk cId="3620474651" sldId="4558"/>
        </pc:sldMkLst>
        <pc:spChg chg="mod">
          <ac:chgData name="Anand Prabhu" userId="6c4c423f-d1f2-47b1-99e3-069c840331b4" providerId="ADAL" clId="{1DA7EDA1-0E59-4DF3-AACB-97850A9B83A1}" dt="2020-05-13T08:54:44.173" v="1353" actId="20577"/>
          <ac:spMkLst>
            <pc:docMk/>
            <pc:sldMk cId="3620474651" sldId="4558"/>
            <ac:spMk id="4" creationId="{0CBBCC2F-A72A-4C83-B55B-854D4744619E}"/>
          </ac:spMkLst>
        </pc:spChg>
        <pc:spChg chg="mod">
          <ac:chgData name="Anand Prabhu" userId="6c4c423f-d1f2-47b1-99e3-069c840331b4" providerId="ADAL" clId="{1DA7EDA1-0E59-4DF3-AACB-97850A9B83A1}" dt="2020-05-13T08:54:49.266" v="1354" actId="6549"/>
          <ac:spMkLst>
            <pc:docMk/>
            <pc:sldMk cId="3620474651" sldId="4558"/>
            <ac:spMk id="5" creationId="{309F469F-455A-45B1-A682-1C40A1BBBC5A}"/>
          </ac:spMkLst>
        </pc:spChg>
      </pc:sldChg>
      <pc:sldChg chg="addSp delSp modSp add ord">
        <pc:chgData name="Anand Prabhu" userId="6c4c423f-d1f2-47b1-99e3-069c840331b4" providerId="ADAL" clId="{1DA7EDA1-0E59-4DF3-AACB-97850A9B83A1}" dt="2020-05-13T09:08:03.255" v="1734" actId="1038"/>
        <pc:sldMkLst>
          <pc:docMk/>
          <pc:sldMk cId="951388135" sldId="4559"/>
        </pc:sldMkLst>
        <pc:spChg chg="del">
          <ac:chgData name="Anand Prabhu" userId="6c4c423f-d1f2-47b1-99e3-069c840331b4" providerId="ADAL" clId="{1DA7EDA1-0E59-4DF3-AACB-97850A9B83A1}" dt="2020-05-13T09:06:05.725" v="1519" actId="478"/>
          <ac:spMkLst>
            <pc:docMk/>
            <pc:sldMk cId="951388135" sldId="4559"/>
            <ac:spMk id="3" creationId="{656FA113-0553-41C8-8780-68DF73B2869E}"/>
          </ac:spMkLst>
        </pc:spChg>
        <pc:picChg chg="add mod">
          <ac:chgData name="Anand Prabhu" userId="6c4c423f-d1f2-47b1-99e3-069c840331b4" providerId="ADAL" clId="{1DA7EDA1-0E59-4DF3-AACB-97850A9B83A1}" dt="2020-05-13T09:08:03.255" v="1734" actId="1038"/>
          <ac:picMkLst>
            <pc:docMk/>
            <pc:sldMk cId="951388135" sldId="4559"/>
            <ac:picMk id="5" creationId="{481000F8-1380-482A-A244-43722E970290}"/>
          </ac:picMkLst>
        </pc:picChg>
      </pc:sldChg>
      <pc:sldChg chg="add del">
        <pc:chgData name="Anand Prabhu" userId="6c4c423f-d1f2-47b1-99e3-069c840331b4" providerId="ADAL" clId="{1DA7EDA1-0E59-4DF3-AACB-97850A9B83A1}" dt="2020-05-13T09:05:58.379" v="1516"/>
        <pc:sldMkLst>
          <pc:docMk/>
          <pc:sldMk cId="1669525593" sldId="4559"/>
        </pc:sldMkLst>
      </pc:sldChg>
      <pc:sldMasterChg chg="delSldLayout">
        <pc:chgData name="Anand Prabhu" userId="6c4c423f-d1f2-47b1-99e3-069c840331b4" providerId="ADAL" clId="{1DA7EDA1-0E59-4DF3-AACB-97850A9B83A1}" dt="2020-05-13T08:53:58.956" v="1334" actId="2696"/>
        <pc:sldMasterMkLst>
          <pc:docMk/>
          <pc:sldMasterMk cId="3362795782" sldId="2147483786"/>
        </pc:sldMasterMkLst>
        <pc:sldLayoutChg chg="del">
          <pc:chgData name="Anand Prabhu" userId="6c4c423f-d1f2-47b1-99e3-069c840331b4" providerId="ADAL" clId="{1DA7EDA1-0E59-4DF3-AACB-97850A9B83A1}" dt="2020-05-13T08:53:58.956" v="1334" actId="2696"/>
          <pc:sldLayoutMkLst>
            <pc:docMk/>
            <pc:sldMasterMk cId="3362795782" sldId="2147483786"/>
            <pc:sldLayoutMk cId="1863342784" sldId="2147483808"/>
          </pc:sldLayoutMkLst>
        </pc:sldLayoutChg>
        <pc:sldLayoutChg chg="del">
          <pc:chgData name="Anand Prabhu" userId="6c4c423f-d1f2-47b1-99e3-069c840331b4" providerId="ADAL" clId="{1DA7EDA1-0E59-4DF3-AACB-97850A9B83A1}" dt="2020-05-13T07:08:06.470" v="27" actId="2696"/>
          <pc:sldLayoutMkLst>
            <pc:docMk/>
            <pc:sldMasterMk cId="3362795782" sldId="2147483786"/>
            <pc:sldLayoutMk cId="3964354818" sldId="2147483812"/>
          </pc:sldLayoutMkLst>
        </pc:sldLayoutChg>
      </pc:sldMasterChg>
    </pc:docChg>
  </pc:docChgLst>
  <pc:docChgLst>
    <pc:chgData name="Anand Prabhu" userId="6c4c423f-d1f2-47b1-99e3-069c840331b4" providerId="ADAL" clId="{08D862B8-D1A3-449B-82FD-18FB89572875}"/>
    <pc:docChg chg="undo custSel addSld delSld modSld sldOrd modSection">
      <pc:chgData name="Anand Prabhu" userId="6c4c423f-d1f2-47b1-99e3-069c840331b4" providerId="ADAL" clId="{08D862B8-D1A3-449B-82FD-18FB89572875}" dt="2020-07-25T06:50:32.587" v="82" actId="14100"/>
      <pc:docMkLst>
        <pc:docMk/>
      </pc:docMkLst>
      <pc:sldChg chg="ord">
        <pc:chgData name="Anand Prabhu" userId="6c4c423f-d1f2-47b1-99e3-069c840331b4" providerId="ADAL" clId="{08D862B8-D1A3-449B-82FD-18FB89572875}" dt="2020-07-25T06:45:43.651" v="28"/>
        <pc:sldMkLst>
          <pc:docMk/>
          <pc:sldMk cId="2099232856" sldId="296"/>
        </pc:sldMkLst>
      </pc:sldChg>
      <pc:sldChg chg="ord">
        <pc:chgData name="Anand Prabhu" userId="6c4c423f-d1f2-47b1-99e3-069c840331b4" providerId="ADAL" clId="{08D862B8-D1A3-449B-82FD-18FB89572875}" dt="2020-07-25T06:45:43.651" v="28"/>
        <pc:sldMkLst>
          <pc:docMk/>
          <pc:sldMk cId="4045199007" sldId="679"/>
        </pc:sldMkLst>
      </pc:sldChg>
      <pc:sldChg chg="ord">
        <pc:chgData name="Anand Prabhu" userId="6c4c423f-d1f2-47b1-99e3-069c840331b4" providerId="ADAL" clId="{08D862B8-D1A3-449B-82FD-18FB89572875}" dt="2020-07-25T06:45:43.651" v="28"/>
        <pc:sldMkLst>
          <pc:docMk/>
          <pc:sldMk cId="2154481219" sldId="702"/>
        </pc:sldMkLst>
      </pc:sldChg>
      <pc:sldChg chg="ord">
        <pc:chgData name="Anand Prabhu" userId="6c4c423f-d1f2-47b1-99e3-069c840331b4" providerId="ADAL" clId="{08D862B8-D1A3-449B-82FD-18FB89572875}" dt="2020-07-25T06:45:43.651" v="28"/>
        <pc:sldMkLst>
          <pc:docMk/>
          <pc:sldMk cId="3438081181" sldId="728"/>
        </pc:sldMkLst>
      </pc:sldChg>
      <pc:sldChg chg="modTransition">
        <pc:chgData name="Anand Prabhu" userId="6c4c423f-d1f2-47b1-99e3-069c840331b4" providerId="ADAL" clId="{08D862B8-D1A3-449B-82FD-18FB89572875}" dt="2020-07-15T04:19:33.786" v="0"/>
        <pc:sldMkLst>
          <pc:docMk/>
          <pc:sldMk cId="2818435884" sldId="732"/>
        </pc:sldMkLst>
      </pc:sldChg>
      <pc:sldChg chg="ord">
        <pc:chgData name="Anand Prabhu" userId="6c4c423f-d1f2-47b1-99e3-069c840331b4" providerId="ADAL" clId="{08D862B8-D1A3-449B-82FD-18FB89572875}" dt="2020-07-25T06:47:29.603" v="31"/>
        <pc:sldMkLst>
          <pc:docMk/>
          <pc:sldMk cId="3561417366" sldId="736"/>
        </pc:sldMkLst>
      </pc:sldChg>
      <pc:sldChg chg="ord">
        <pc:chgData name="Anand Prabhu" userId="6c4c423f-d1f2-47b1-99e3-069c840331b4" providerId="ADAL" clId="{08D862B8-D1A3-449B-82FD-18FB89572875}" dt="2020-07-25T06:47:29.603" v="31"/>
        <pc:sldMkLst>
          <pc:docMk/>
          <pc:sldMk cId="982234604" sldId="737"/>
        </pc:sldMkLst>
      </pc:sldChg>
      <pc:sldChg chg="ord">
        <pc:chgData name="Anand Prabhu" userId="6c4c423f-d1f2-47b1-99e3-069c840331b4" providerId="ADAL" clId="{08D862B8-D1A3-449B-82FD-18FB89572875}" dt="2020-07-25T06:45:43.651" v="28"/>
        <pc:sldMkLst>
          <pc:docMk/>
          <pc:sldMk cId="1567553940" sldId="739"/>
        </pc:sldMkLst>
      </pc:sldChg>
      <pc:sldChg chg="ord">
        <pc:chgData name="Anand Prabhu" userId="6c4c423f-d1f2-47b1-99e3-069c840331b4" providerId="ADAL" clId="{08D862B8-D1A3-449B-82FD-18FB89572875}" dt="2020-07-25T06:45:43.651" v="28"/>
        <pc:sldMkLst>
          <pc:docMk/>
          <pc:sldMk cId="1591357489" sldId="744"/>
        </pc:sldMkLst>
      </pc:sldChg>
      <pc:sldChg chg="ord">
        <pc:chgData name="Anand Prabhu" userId="6c4c423f-d1f2-47b1-99e3-069c840331b4" providerId="ADAL" clId="{08D862B8-D1A3-449B-82FD-18FB89572875}" dt="2020-07-25T06:45:43.651" v="28"/>
        <pc:sldMkLst>
          <pc:docMk/>
          <pc:sldMk cId="1259475928" sldId="746"/>
        </pc:sldMkLst>
      </pc:sldChg>
      <pc:sldChg chg="ord">
        <pc:chgData name="Anand Prabhu" userId="6c4c423f-d1f2-47b1-99e3-069c840331b4" providerId="ADAL" clId="{08D862B8-D1A3-449B-82FD-18FB89572875}" dt="2020-07-25T06:45:43.651" v="28"/>
        <pc:sldMkLst>
          <pc:docMk/>
          <pc:sldMk cId="325675679" sldId="748"/>
        </pc:sldMkLst>
      </pc:sldChg>
      <pc:sldChg chg="ord">
        <pc:chgData name="Anand Prabhu" userId="6c4c423f-d1f2-47b1-99e3-069c840331b4" providerId="ADAL" clId="{08D862B8-D1A3-449B-82FD-18FB89572875}" dt="2020-07-25T06:45:43.651" v="28"/>
        <pc:sldMkLst>
          <pc:docMk/>
          <pc:sldMk cId="278505841" sldId="749"/>
        </pc:sldMkLst>
      </pc:sldChg>
      <pc:sldChg chg="modTransition">
        <pc:chgData name="Anand Prabhu" userId="6c4c423f-d1f2-47b1-99e3-069c840331b4" providerId="ADAL" clId="{08D862B8-D1A3-449B-82FD-18FB89572875}" dt="2020-07-15T04:19:33.786" v="0"/>
        <pc:sldMkLst>
          <pc:docMk/>
          <pc:sldMk cId="1802420215" sldId="777"/>
        </pc:sldMkLst>
      </pc:sldChg>
      <pc:sldChg chg="modTransition">
        <pc:chgData name="Anand Prabhu" userId="6c4c423f-d1f2-47b1-99e3-069c840331b4" providerId="ADAL" clId="{08D862B8-D1A3-449B-82FD-18FB89572875}" dt="2020-07-15T04:19:33.786" v="0"/>
        <pc:sldMkLst>
          <pc:docMk/>
          <pc:sldMk cId="2842770800" sldId="778"/>
        </pc:sldMkLst>
      </pc:sldChg>
      <pc:sldChg chg="modTransition">
        <pc:chgData name="Anand Prabhu" userId="6c4c423f-d1f2-47b1-99e3-069c840331b4" providerId="ADAL" clId="{08D862B8-D1A3-449B-82FD-18FB89572875}" dt="2020-07-15T04:19:33.786" v="0"/>
        <pc:sldMkLst>
          <pc:docMk/>
          <pc:sldMk cId="1197708568" sldId="779"/>
        </pc:sldMkLst>
      </pc:sldChg>
      <pc:sldChg chg="modTransition">
        <pc:chgData name="Anand Prabhu" userId="6c4c423f-d1f2-47b1-99e3-069c840331b4" providerId="ADAL" clId="{08D862B8-D1A3-449B-82FD-18FB89572875}" dt="2020-07-15T04:19:33.786" v="0"/>
        <pc:sldMkLst>
          <pc:docMk/>
          <pc:sldMk cId="152384711" sldId="780"/>
        </pc:sldMkLst>
      </pc:sldChg>
      <pc:sldChg chg="modTransition">
        <pc:chgData name="Anand Prabhu" userId="6c4c423f-d1f2-47b1-99e3-069c840331b4" providerId="ADAL" clId="{08D862B8-D1A3-449B-82FD-18FB89572875}" dt="2020-07-15T04:19:33.786" v="0"/>
        <pc:sldMkLst>
          <pc:docMk/>
          <pc:sldMk cId="1197497591" sldId="781"/>
        </pc:sldMkLst>
      </pc:sldChg>
      <pc:sldChg chg="modTransition">
        <pc:chgData name="Anand Prabhu" userId="6c4c423f-d1f2-47b1-99e3-069c840331b4" providerId="ADAL" clId="{08D862B8-D1A3-449B-82FD-18FB89572875}" dt="2020-07-15T04:19:33.786" v="0"/>
        <pc:sldMkLst>
          <pc:docMk/>
          <pc:sldMk cId="4048037440" sldId="782"/>
        </pc:sldMkLst>
      </pc:sldChg>
      <pc:sldChg chg="modTransition">
        <pc:chgData name="Anand Prabhu" userId="6c4c423f-d1f2-47b1-99e3-069c840331b4" providerId="ADAL" clId="{08D862B8-D1A3-449B-82FD-18FB89572875}" dt="2020-07-15T04:19:33.786" v="0"/>
        <pc:sldMkLst>
          <pc:docMk/>
          <pc:sldMk cId="723145865" sldId="784"/>
        </pc:sldMkLst>
      </pc:sldChg>
      <pc:sldChg chg="modTransition">
        <pc:chgData name="Anand Prabhu" userId="6c4c423f-d1f2-47b1-99e3-069c840331b4" providerId="ADAL" clId="{08D862B8-D1A3-449B-82FD-18FB89572875}" dt="2020-07-15T04:19:33.786" v="0"/>
        <pc:sldMkLst>
          <pc:docMk/>
          <pc:sldMk cId="1272676977" sldId="788"/>
        </pc:sldMkLst>
      </pc:sldChg>
      <pc:sldChg chg="addSp delSp modSp modTransition">
        <pc:chgData name="Anand Prabhu" userId="6c4c423f-d1f2-47b1-99e3-069c840331b4" providerId="ADAL" clId="{08D862B8-D1A3-449B-82FD-18FB89572875}" dt="2020-07-25T06:37:35.480" v="26"/>
        <pc:sldMkLst>
          <pc:docMk/>
          <pc:sldMk cId="1017512670" sldId="1704"/>
        </pc:sldMkLst>
        <pc:spChg chg="mod">
          <ac:chgData name="Anand Prabhu" userId="6c4c423f-d1f2-47b1-99e3-069c840331b4" providerId="ADAL" clId="{08D862B8-D1A3-449B-82FD-18FB89572875}" dt="2020-07-25T06:37:35.480" v="26"/>
          <ac:spMkLst>
            <pc:docMk/>
            <pc:sldMk cId="1017512670" sldId="1704"/>
            <ac:spMk id="2" creationId="{90D1D37F-9777-4AC2-B701-65A67F74A26C}"/>
          </ac:spMkLst>
        </pc:spChg>
        <pc:spChg chg="add del mod">
          <ac:chgData name="Anand Prabhu" userId="6c4c423f-d1f2-47b1-99e3-069c840331b4" providerId="ADAL" clId="{08D862B8-D1A3-449B-82FD-18FB89572875}" dt="2020-07-25T06:37:35.480" v="26"/>
          <ac:spMkLst>
            <pc:docMk/>
            <pc:sldMk cId="1017512670" sldId="1704"/>
            <ac:spMk id="3" creationId="{F4CF4A9A-339B-4B33-9DA9-79147EB89210}"/>
          </ac:spMkLst>
        </pc:spChg>
      </pc:sldChg>
      <pc:sldChg chg="modSp">
        <pc:chgData name="Anand Prabhu" userId="6c4c423f-d1f2-47b1-99e3-069c840331b4" providerId="ADAL" clId="{08D862B8-D1A3-449B-82FD-18FB89572875}" dt="2020-07-25T06:37:06.908" v="22" actId="20577"/>
        <pc:sldMkLst>
          <pc:docMk/>
          <pc:sldMk cId="3504930069" sldId="1720"/>
        </pc:sldMkLst>
        <pc:spChg chg="mod">
          <ac:chgData name="Anand Prabhu" userId="6c4c423f-d1f2-47b1-99e3-069c840331b4" providerId="ADAL" clId="{08D862B8-D1A3-449B-82FD-18FB89572875}" dt="2020-07-25T06:37:06.908" v="22" actId="20577"/>
          <ac:spMkLst>
            <pc:docMk/>
            <pc:sldMk cId="3504930069" sldId="1720"/>
            <ac:spMk id="287" creationId="{FEC81856-5FC4-44F1-B469-E4ABACAE2E5E}"/>
          </ac:spMkLst>
        </pc:spChg>
        <pc:cxnChg chg="mod">
          <ac:chgData name="Anand Prabhu" userId="6c4c423f-d1f2-47b1-99e3-069c840331b4" providerId="ADAL" clId="{08D862B8-D1A3-449B-82FD-18FB89572875}" dt="2020-07-25T06:37:05.484" v="17" actId="20577"/>
          <ac:cxnSpMkLst>
            <pc:docMk/>
            <pc:sldMk cId="3504930069" sldId="1720"/>
            <ac:cxnSpMk id="269" creationId="{2FEAD7F7-3A99-4BB8-BE2B-41A766BBE4A1}"/>
          </ac:cxnSpMkLst>
        </pc:cxnChg>
      </pc:sldChg>
      <pc:sldChg chg="modTransition">
        <pc:chgData name="Anand Prabhu" userId="6c4c423f-d1f2-47b1-99e3-069c840331b4" providerId="ADAL" clId="{08D862B8-D1A3-449B-82FD-18FB89572875}" dt="2020-07-15T04:19:33.786" v="0"/>
        <pc:sldMkLst>
          <pc:docMk/>
          <pc:sldMk cId="2816930418" sldId="1721"/>
        </pc:sldMkLst>
      </pc:sldChg>
      <pc:sldChg chg="modSp">
        <pc:chgData name="Anand Prabhu" userId="6c4c423f-d1f2-47b1-99e3-069c840331b4" providerId="ADAL" clId="{08D862B8-D1A3-449B-82FD-18FB89572875}" dt="2020-07-25T06:48:23.952" v="61" actId="20577"/>
        <pc:sldMkLst>
          <pc:docMk/>
          <pc:sldMk cId="293329949" sldId="1724"/>
        </pc:sldMkLst>
        <pc:spChg chg="mod">
          <ac:chgData name="Anand Prabhu" userId="6c4c423f-d1f2-47b1-99e3-069c840331b4" providerId="ADAL" clId="{08D862B8-D1A3-449B-82FD-18FB89572875}" dt="2020-07-25T06:48:23.952" v="61" actId="20577"/>
          <ac:spMkLst>
            <pc:docMk/>
            <pc:sldMk cId="293329949" sldId="1724"/>
            <ac:spMk id="3" creationId="{56C4B2DF-017A-4C85-A6DF-E3FAF102EAF8}"/>
          </ac:spMkLst>
        </pc:spChg>
      </pc:sldChg>
      <pc:sldChg chg="modSp ord">
        <pc:chgData name="Anand Prabhu" userId="6c4c423f-d1f2-47b1-99e3-069c840331b4" providerId="ADAL" clId="{08D862B8-D1A3-449B-82FD-18FB89572875}" dt="2020-07-25T06:48:03.108" v="40" actId="20577"/>
        <pc:sldMkLst>
          <pc:docMk/>
          <pc:sldMk cId="1537084499" sldId="4553"/>
        </pc:sldMkLst>
        <pc:spChg chg="mod">
          <ac:chgData name="Anand Prabhu" userId="6c4c423f-d1f2-47b1-99e3-069c840331b4" providerId="ADAL" clId="{08D862B8-D1A3-449B-82FD-18FB89572875}" dt="2020-07-25T06:48:03.108" v="40" actId="20577"/>
          <ac:spMkLst>
            <pc:docMk/>
            <pc:sldMk cId="1537084499" sldId="4553"/>
            <ac:spMk id="4" creationId="{0CBBCC2F-A72A-4C83-B55B-854D4744619E}"/>
          </ac:spMkLst>
        </pc:spChg>
      </pc:sldChg>
      <pc:sldChg chg="modTransition">
        <pc:chgData name="Anand Prabhu" userId="6c4c423f-d1f2-47b1-99e3-069c840331b4" providerId="ADAL" clId="{08D862B8-D1A3-449B-82FD-18FB89572875}" dt="2020-07-15T04:19:33.786" v="0"/>
        <pc:sldMkLst>
          <pc:docMk/>
          <pc:sldMk cId="2977808609" sldId="4560"/>
        </pc:sldMkLst>
      </pc:sldChg>
      <pc:sldChg chg="addSp modSp add">
        <pc:chgData name="Anand Prabhu" userId="6c4c423f-d1f2-47b1-99e3-069c840331b4" providerId="ADAL" clId="{08D862B8-D1A3-449B-82FD-18FB89572875}" dt="2020-07-25T06:50:32.587" v="82" actId="14100"/>
        <pc:sldMkLst>
          <pc:docMk/>
          <pc:sldMk cId="356255544" sldId="4563"/>
        </pc:sldMkLst>
        <pc:spChg chg="add mod">
          <ac:chgData name="Anand Prabhu" userId="6c4c423f-d1f2-47b1-99e3-069c840331b4" providerId="ADAL" clId="{08D862B8-D1A3-449B-82FD-18FB89572875}" dt="2020-07-25T06:50:05.789" v="66"/>
          <ac:spMkLst>
            <pc:docMk/>
            <pc:sldMk cId="356255544" sldId="4563"/>
            <ac:spMk id="2" creationId="{727E3C03-4E7F-42A6-9D9B-7C20CD5F2C22}"/>
          </ac:spMkLst>
        </pc:spChg>
        <pc:picChg chg="mod">
          <ac:chgData name="Anand Prabhu" userId="6c4c423f-d1f2-47b1-99e3-069c840331b4" providerId="ADAL" clId="{08D862B8-D1A3-449B-82FD-18FB89572875}" dt="2020-07-25T06:50:32.587" v="82" actId="14100"/>
          <ac:picMkLst>
            <pc:docMk/>
            <pc:sldMk cId="356255544" sldId="4563"/>
            <ac:picMk id="3074" creationId="{D7E22DFD-FAF4-43A4-BCDA-1DBD48DAB37A}"/>
          </ac:picMkLst>
        </pc:picChg>
      </pc:sldChg>
      <pc:sldChg chg="addSp add del">
        <pc:chgData name="Anand Prabhu" userId="6c4c423f-d1f2-47b1-99e3-069c840331b4" providerId="ADAL" clId="{08D862B8-D1A3-449B-82FD-18FB89572875}" dt="2020-07-25T06:49:27.972" v="64" actId="2696"/>
        <pc:sldMkLst>
          <pc:docMk/>
          <pc:sldMk cId="2041620164" sldId="4563"/>
        </pc:sldMkLst>
        <pc:picChg chg="add">
          <ac:chgData name="Anand Prabhu" userId="6c4c423f-d1f2-47b1-99e3-069c840331b4" providerId="ADAL" clId="{08D862B8-D1A3-449B-82FD-18FB89572875}" dt="2020-07-25T06:49:09.911" v="63"/>
          <ac:picMkLst>
            <pc:docMk/>
            <pc:sldMk cId="2041620164" sldId="4563"/>
            <ac:picMk id="3074" creationId="{D7E22DFD-FAF4-43A4-BCDA-1DBD48DAB37A}"/>
          </ac:picMkLst>
        </pc:picChg>
      </pc:sldChg>
    </pc:docChg>
  </pc:docChgLst>
  <pc:docChgLst>
    <pc:chgData name="Anand Prabhu" userId="6c4c423f-d1f2-47b1-99e3-069c840331b4" providerId="ADAL" clId="{574E3DEC-6E0C-4945-952A-FFA48F412846}"/>
    <pc:docChg chg="delSld modSection">
      <pc:chgData name="Anand Prabhu" userId="6c4c423f-d1f2-47b1-99e3-069c840331b4" providerId="ADAL" clId="{574E3DEC-6E0C-4945-952A-FFA48F412846}" dt="2021-03-31T10:39:43.359" v="0" actId="47"/>
      <pc:docMkLst>
        <pc:docMk/>
      </pc:docMkLst>
      <pc:sldChg chg="del">
        <pc:chgData name="Anand Prabhu" userId="6c4c423f-d1f2-47b1-99e3-069c840331b4" providerId="ADAL" clId="{574E3DEC-6E0C-4945-952A-FFA48F412846}" dt="2021-03-31T10:39:43.359" v="0" actId="47"/>
        <pc:sldMkLst>
          <pc:docMk/>
          <pc:sldMk cId="446683251" sldId="259"/>
        </pc:sldMkLst>
      </pc:sldChg>
      <pc:sldChg chg="del">
        <pc:chgData name="Anand Prabhu" userId="6c4c423f-d1f2-47b1-99e3-069c840331b4" providerId="ADAL" clId="{574E3DEC-6E0C-4945-952A-FFA48F412846}" dt="2021-03-31T10:39:43.359" v="0" actId="47"/>
        <pc:sldMkLst>
          <pc:docMk/>
          <pc:sldMk cId="2099232856" sldId="296"/>
        </pc:sldMkLst>
      </pc:sldChg>
      <pc:sldChg chg="del">
        <pc:chgData name="Anand Prabhu" userId="6c4c423f-d1f2-47b1-99e3-069c840331b4" providerId="ADAL" clId="{574E3DEC-6E0C-4945-952A-FFA48F412846}" dt="2021-03-31T10:39:43.359" v="0" actId="47"/>
        <pc:sldMkLst>
          <pc:docMk/>
          <pc:sldMk cId="4045199007" sldId="679"/>
        </pc:sldMkLst>
      </pc:sldChg>
      <pc:sldChg chg="del">
        <pc:chgData name="Anand Prabhu" userId="6c4c423f-d1f2-47b1-99e3-069c840331b4" providerId="ADAL" clId="{574E3DEC-6E0C-4945-952A-FFA48F412846}" dt="2021-03-31T10:39:43.359" v="0" actId="47"/>
        <pc:sldMkLst>
          <pc:docMk/>
          <pc:sldMk cId="2154481219" sldId="702"/>
        </pc:sldMkLst>
      </pc:sldChg>
      <pc:sldChg chg="del">
        <pc:chgData name="Anand Prabhu" userId="6c4c423f-d1f2-47b1-99e3-069c840331b4" providerId="ADAL" clId="{574E3DEC-6E0C-4945-952A-FFA48F412846}" dt="2021-03-31T10:39:43.359" v="0" actId="47"/>
        <pc:sldMkLst>
          <pc:docMk/>
          <pc:sldMk cId="3438081181" sldId="728"/>
        </pc:sldMkLst>
      </pc:sldChg>
      <pc:sldChg chg="del">
        <pc:chgData name="Anand Prabhu" userId="6c4c423f-d1f2-47b1-99e3-069c840331b4" providerId="ADAL" clId="{574E3DEC-6E0C-4945-952A-FFA48F412846}" dt="2021-03-31T10:39:43.359" v="0" actId="47"/>
        <pc:sldMkLst>
          <pc:docMk/>
          <pc:sldMk cId="3561417366" sldId="736"/>
        </pc:sldMkLst>
      </pc:sldChg>
      <pc:sldChg chg="del">
        <pc:chgData name="Anand Prabhu" userId="6c4c423f-d1f2-47b1-99e3-069c840331b4" providerId="ADAL" clId="{574E3DEC-6E0C-4945-952A-FFA48F412846}" dt="2021-03-31T10:39:43.359" v="0" actId="47"/>
        <pc:sldMkLst>
          <pc:docMk/>
          <pc:sldMk cId="982234604" sldId="737"/>
        </pc:sldMkLst>
      </pc:sldChg>
      <pc:sldChg chg="del">
        <pc:chgData name="Anand Prabhu" userId="6c4c423f-d1f2-47b1-99e3-069c840331b4" providerId="ADAL" clId="{574E3DEC-6E0C-4945-952A-FFA48F412846}" dt="2021-03-31T10:39:43.359" v="0" actId="47"/>
        <pc:sldMkLst>
          <pc:docMk/>
          <pc:sldMk cId="1567553940" sldId="739"/>
        </pc:sldMkLst>
      </pc:sldChg>
      <pc:sldChg chg="del">
        <pc:chgData name="Anand Prabhu" userId="6c4c423f-d1f2-47b1-99e3-069c840331b4" providerId="ADAL" clId="{574E3DEC-6E0C-4945-952A-FFA48F412846}" dt="2021-03-31T10:39:43.359" v="0" actId="47"/>
        <pc:sldMkLst>
          <pc:docMk/>
          <pc:sldMk cId="1591357489" sldId="744"/>
        </pc:sldMkLst>
      </pc:sldChg>
      <pc:sldChg chg="del">
        <pc:chgData name="Anand Prabhu" userId="6c4c423f-d1f2-47b1-99e3-069c840331b4" providerId="ADAL" clId="{574E3DEC-6E0C-4945-952A-FFA48F412846}" dt="2021-03-31T10:39:43.359" v="0" actId="47"/>
        <pc:sldMkLst>
          <pc:docMk/>
          <pc:sldMk cId="1259475928" sldId="746"/>
        </pc:sldMkLst>
      </pc:sldChg>
      <pc:sldChg chg="del">
        <pc:chgData name="Anand Prabhu" userId="6c4c423f-d1f2-47b1-99e3-069c840331b4" providerId="ADAL" clId="{574E3DEC-6E0C-4945-952A-FFA48F412846}" dt="2021-03-31T10:39:43.359" v="0" actId="47"/>
        <pc:sldMkLst>
          <pc:docMk/>
          <pc:sldMk cId="325675679" sldId="748"/>
        </pc:sldMkLst>
      </pc:sldChg>
      <pc:sldChg chg="del">
        <pc:chgData name="Anand Prabhu" userId="6c4c423f-d1f2-47b1-99e3-069c840331b4" providerId="ADAL" clId="{574E3DEC-6E0C-4945-952A-FFA48F412846}" dt="2021-03-31T10:39:43.359" v="0" actId="47"/>
        <pc:sldMkLst>
          <pc:docMk/>
          <pc:sldMk cId="278505841" sldId="749"/>
        </pc:sldMkLst>
      </pc:sldChg>
      <pc:sldChg chg="del">
        <pc:chgData name="Anand Prabhu" userId="6c4c423f-d1f2-47b1-99e3-069c840331b4" providerId="ADAL" clId="{574E3DEC-6E0C-4945-952A-FFA48F412846}" dt="2021-03-31T10:39:43.359" v="0" actId="47"/>
        <pc:sldMkLst>
          <pc:docMk/>
          <pc:sldMk cId="725283395" sldId="1413"/>
        </pc:sldMkLst>
      </pc:sldChg>
      <pc:sldChg chg="del">
        <pc:chgData name="Anand Prabhu" userId="6c4c423f-d1f2-47b1-99e3-069c840331b4" providerId="ADAL" clId="{574E3DEC-6E0C-4945-952A-FFA48F412846}" dt="2021-03-31T10:39:43.359" v="0" actId="47"/>
        <pc:sldMkLst>
          <pc:docMk/>
          <pc:sldMk cId="886129732" sldId="4485"/>
        </pc:sldMkLst>
      </pc:sldChg>
      <pc:sldChg chg="del">
        <pc:chgData name="Anand Prabhu" userId="6c4c423f-d1f2-47b1-99e3-069c840331b4" providerId="ADAL" clId="{574E3DEC-6E0C-4945-952A-FFA48F412846}" dt="2021-03-31T10:39:43.359" v="0" actId="47"/>
        <pc:sldMkLst>
          <pc:docMk/>
          <pc:sldMk cId="4133487147" sldId="4539"/>
        </pc:sldMkLst>
      </pc:sldChg>
      <pc:sldChg chg="del">
        <pc:chgData name="Anand Prabhu" userId="6c4c423f-d1f2-47b1-99e3-069c840331b4" providerId="ADAL" clId="{574E3DEC-6E0C-4945-952A-FFA48F412846}" dt="2021-03-31T10:39:43.359" v="0" actId="47"/>
        <pc:sldMkLst>
          <pc:docMk/>
          <pc:sldMk cId="79418590" sldId="4544"/>
        </pc:sldMkLst>
      </pc:sldChg>
      <pc:sldChg chg="del">
        <pc:chgData name="Anand Prabhu" userId="6c4c423f-d1f2-47b1-99e3-069c840331b4" providerId="ADAL" clId="{574E3DEC-6E0C-4945-952A-FFA48F412846}" dt="2021-03-31T10:39:43.359" v="0" actId="47"/>
        <pc:sldMkLst>
          <pc:docMk/>
          <pc:sldMk cId="255522928" sldId="4552"/>
        </pc:sldMkLst>
      </pc:sldChg>
      <pc:sldChg chg="del">
        <pc:chgData name="Anand Prabhu" userId="6c4c423f-d1f2-47b1-99e3-069c840331b4" providerId="ADAL" clId="{574E3DEC-6E0C-4945-952A-FFA48F412846}" dt="2021-03-31T10:39:43.359" v="0" actId="47"/>
        <pc:sldMkLst>
          <pc:docMk/>
          <pc:sldMk cId="1537084499" sldId="4553"/>
        </pc:sldMkLst>
      </pc:sldChg>
      <pc:sldChg chg="del">
        <pc:chgData name="Anand Prabhu" userId="6c4c423f-d1f2-47b1-99e3-069c840331b4" providerId="ADAL" clId="{574E3DEC-6E0C-4945-952A-FFA48F412846}" dt="2021-03-31T10:39:43.359" v="0" actId="47"/>
        <pc:sldMkLst>
          <pc:docMk/>
          <pc:sldMk cId="951388135" sldId="4559"/>
        </pc:sldMkLst>
      </pc:sldChg>
      <pc:sldChg chg="del">
        <pc:chgData name="Anand Prabhu" userId="6c4c423f-d1f2-47b1-99e3-069c840331b4" providerId="ADAL" clId="{574E3DEC-6E0C-4945-952A-FFA48F412846}" dt="2021-03-31T10:39:43.359" v="0" actId="47"/>
        <pc:sldMkLst>
          <pc:docMk/>
          <pc:sldMk cId="3358274151" sldId="4561"/>
        </pc:sldMkLst>
      </pc:sldChg>
      <pc:sldChg chg="del">
        <pc:chgData name="Anand Prabhu" userId="6c4c423f-d1f2-47b1-99e3-069c840331b4" providerId="ADAL" clId="{574E3DEC-6E0C-4945-952A-FFA48F412846}" dt="2021-03-31T10:39:43.359" v="0" actId="47"/>
        <pc:sldMkLst>
          <pc:docMk/>
          <pc:sldMk cId="553738937" sldId="4562"/>
        </pc:sldMkLst>
      </pc:sldChg>
      <pc:sldChg chg="del">
        <pc:chgData name="Anand Prabhu" userId="6c4c423f-d1f2-47b1-99e3-069c840331b4" providerId="ADAL" clId="{574E3DEC-6E0C-4945-952A-FFA48F412846}" dt="2021-03-31T10:39:43.359" v="0" actId="47"/>
        <pc:sldMkLst>
          <pc:docMk/>
          <pc:sldMk cId="356255544" sldId="4563"/>
        </pc:sldMkLst>
      </pc:sldChg>
      <pc:sldMasterChg chg="delSldLayout">
        <pc:chgData name="Anand Prabhu" userId="6c4c423f-d1f2-47b1-99e3-069c840331b4" providerId="ADAL" clId="{574E3DEC-6E0C-4945-952A-FFA48F412846}" dt="2021-03-31T10:39:43.359" v="0" actId="47"/>
        <pc:sldMasterMkLst>
          <pc:docMk/>
          <pc:sldMasterMk cId="3362795782" sldId="2147483786"/>
        </pc:sldMasterMkLst>
        <pc:sldLayoutChg chg="del">
          <pc:chgData name="Anand Prabhu" userId="6c4c423f-d1f2-47b1-99e3-069c840331b4" providerId="ADAL" clId="{574E3DEC-6E0C-4945-952A-FFA48F412846}" dt="2021-03-31T10:39:43.359" v="0" actId="47"/>
          <pc:sldLayoutMkLst>
            <pc:docMk/>
            <pc:sldMasterMk cId="3362795782" sldId="2147483786"/>
            <pc:sldLayoutMk cId="2184379175" sldId="2147483812"/>
          </pc:sldLayoutMkLst>
        </pc:sldLayoutChg>
      </pc:sldMasterChg>
    </pc:docChg>
  </pc:docChgLst>
  <pc:docChgLst>
    <pc:chgData name="Anand Prabhu" userId="6c4c423f-d1f2-47b1-99e3-069c840331b4" providerId="ADAL" clId="{407BBD3C-1B86-4C8F-B216-865FC2E31A5C}"/>
    <pc:docChg chg="undo custSel addSld delSld modSld modSection">
      <pc:chgData name="Anand Prabhu" userId="6c4c423f-d1f2-47b1-99e3-069c840331b4" providerId="ADAL" clId="{407BBD3C-1B86-4C8F-B216-865FC2E31A5C}" dt="2020-05-28T09:01:58.825" v="147" actId="20577"/>
      <pc:docMkLst>
        <pc:docMk/>
      </pc:docMkLst>
      <pc:sldChg chg="add del">
        <pc:chgData name="Anand Prabhu" userId="6c4c423f-d1f2-47b1-99e3-069c840331b4" providerId="ADAL" clId="{407BBD3C-1B86-4C8F-B216-865FC2E31A5C}" dt="2020-05-28T08:48:46.167" v="6" actId="2696"/>
        <pc:sldMkLst>
          <pc:docMk/>
          <pc:sldMk cId="1091943013" sldId="732"/>
        </pc:sldMkLst>
      </pc:sldChg>
      <pc:sldChg chg="add modTransition">
        <pc:chgData name="Anand Prabhu" userId="6c4c423f-d1f2-47b1-99e3-069c840331b4" providerId="ADAL" clId="{407BBD3C-1B86-4C8F-B216-865FC2E31A5C}" dt="2020-05-28T08:54:27.808" v="86"/>
        <pc:sldMkLst>
          <pc:docMk/>
          <pc:sldMk cId="2818435884" sldId="732"/>
        </pc:sldMkLst>
      </pc:sldChg>
      <pc:sldChg chg="add del">
        <pc:chgData name="Anand Prabhu" userId="6c4c423f-d1f2-47b1-99e3-069c840331b4" providerId="ADAL" clId="{407BBD3C-1B86-4C8F-B216-865FC2E31A5C}" dt="2020-05-28T08:48:46.137" v="5" actId="2696"/>
        <pc:sldMkLst>
          <pc:docMk/>
          <pc:sldMk cId="302464287" sldId="777"/>
        </pc:sldMkLst>
      </pc:sldChg>
      <pc:sldChg chg="add modTransition">
        <pc:chgData name="Anand Prabhu" userId="6c4c423f-d1f2-47b1-99e3-069c840331b4" providerId="ADAL" clId="{407BBD3C-1B86-4C8F-B216-865FC2E31A5C}" dt="2020-05-28T08:54:27.808" v="86"/>
        <pc:sldMkLst>
          <pc:docMk/>
          <pc:sldMk cId="1802420215" sldId="777"/>
        </pc:sldMkLst>
      </pc:sldChg>
      <pc:sldChg chg="add modTransition">
        <pc:chgData name="Anand Prabhu" userId="6c4c423f-d1f2-47b1-99e3-069c840331b4" providerId="ADAL" clId="{407BBD3C-1B86-4C8F-B216-865FC2E31A5C}" dt="2020-05-28T08:54:27.808" v="86"/>
        <pc:sldMkLst>
          <pc:docMk/>
          <pc:sldMk cId="2842770800" sldId="778"/>
        </pc:sldMkLst>
      </pc:sldChg>
      <pc:sldChg chg="add del">
        <pc:chgData name="Anand Prabhu" userId="6c4c423f-d1f2-47b1-99e3-069c840331b4" providerId="ADAL" clId="{407BBD3C-1B86-4C8F-B216-865FC2E31A5C}" dt="2020-05-28T08:48:46.028" v="2" actId="2696"/>
        <pc:sldMkLst>
          <pc:docMk/>
          <pc:sldMk cId="3201623893" sldId="778"/>
        </pc:sldMkLst>
      </pc:sldChg>
      <pc:sldChg chg="add modTransition">
        <pc:chgData name="Anand Prabhu" userId="6c4c423f-d1f2-47b1-99e3-069c840331b4" providerId="ADAL" clId="{407BBD3C-1B86-4C8F-B216-865FC2E31A5C}" dt="2020-05-28T08:54:27.808" v="86"/>
        <pc:sldMkLst>
          <pc:docMk/>
          <pc:sldMk cId="1197708568" sldId="779"/>
        </pc:sldMkLst>
      </pc:sldChg>
      <pc:sldChg chg="add del">
        <pc:chgData name="Anand Prabhu" userId="6c4c423f-d1f2-47b1-99e3-069c840331b4" providerId="ADAL" clId="{407BBD3C-1B86-4C8F-B216-865FC2E31A5C}" dt="2020-05-28T08:48:46.090" v="4" actId="2696"/>
        <pc:sldMkLst>
          <pc:docMk/>
          <pc:sldMk cId="2166777094" sldId="779"/>
        </pc:sldMkLst>
      </pc:sldChg>
      <pc:sldChg chg="add modTransition">
        <pc:chgData name="Anand Prabhu" userId="6c4c423f-d1f2-47b1-99e3-069c840331b4" providerId="ADAL" clId="{407BBD3C-1B86-4C8F-B216-865FC2E31A5C}" dt="2020-05-28T08:54:27.808" v="86"/>
        <pc:sldMkLst>
          <pc:docMk/>
          <pc:sldMk cId="152384711" sldId="780"/>
        </pc:sldMkLst>
      </pc:sldChg>
      <pc:sldChg chg="add del">
        <pc:chgData name="Anand Prabhu" userId="6c4c423f-d1f2-47b1-99e3-069c840331b4" providerId="ADAL" clId="{407BBD3C-1B86-4C8F-B216-865FC2E31A5C}" dt="2020-05-28T08:48:46.218" v="7" actId="2696"/>
        <pc:sldMkLst>
          <pc:docMk/>
          <pc:sldMk cId="3323346506" sldId="780"/>
        </pc:sldMkLst>
      </pc:sldChg>
      <pc:sldChg chg="add del">
        <pc:chgData name="Anand Prabhu" userId="6c4c423f-d1f2-47b1-99e3-069c840331b4" providerId="ADAL" clId="{407BBD3C-1B86-4C8F-B216-865FC2E31A5C}" dt="2020-05-28T08:48:46.246" v="8" actId="2696"/>
        <pc:sldMkLst>
          <pc:docMk/>
          <pc:sldMk cId="465129241" sldId="781"/>
        </pc:sldMkLst>
      </pc:sldChg>
      <pc:sldChg chg="modSp add modTransition">
        <pc:chgData name="Anand Prabhu" userId="6c4c423f-d1f2-47b1-99e3-069c840331b4" providerId="ADAL" clId="{407BBD3C-1B86-4C8F-B216-865FC2E31A5C}" dt="2020-05-28T08:54:27.808" v="86"/>
        <pc:sldMkLst>
          <pc:docMk/>
          <pc:sldMk cId="1197497591" sldId="781"/>
        </pc:sldMkLst>
        <pc:spChg chg="mod">
          <ac:chgData name="Anand Prabhu" userId="6c4c423f-d1f2-47b1-99e3-069c840331b4" providerId="ADAL" clId="{407BBD3C-1B86-4C8F-B216-865FC2E31A5C}" dt="2020-05-28T08:51:47.839" v="74" actId="1035"/>
          <ac:spMkLst>
            <pc:docMk/>
            <pc:sldMk cId="1197497591" sldId="781"/>
            <ac:spMk id="3" creationId="{64D2C276-3478-4910-95F7-91867B6AADB8}"/>
          </ac:spMkLst>
        </pc:spChg>
      </pc:sldChg>
      <pc:sldChg chg="add del">
        <pc:chgData name="Anand Prabhu" userId="6c4c423f-d1f2-47b1-99e3-069c840331b4" providerId="ADAL" clId="{407BBD3C-1B86-4C8F-B216-865FC2E31A5C}" dt="2020-05-28T08:48:46.270" v="9" actId="2696"/>
        <pc:sldMkLst>
          <pc:docMk/>
          <pc:sldMk cId="1394282831" sldId="782"/>
        </pc:sldMkLst>
      </pc:sldChg>
      <pc:sldChg chg="add modTransition">
        <pc:chgData name="Anand Prabhu" userId="6c4c423f-d1f2-47b1-99e3-069c840331b4" providerId="ADAL" clId="{407BBD3C-1B86-4C8F-B216-865FC2E31A5C}" dt="2020-05-28T08:54:27.808" v="86"/>
        <pc:sldMkLst>
          <pc:docMk/>
          <pc:sldMk cId="4048037440" sldId="782"/>
        </pc:sldMkLst>
      </pc:sldChg>
      <pc:sldChg chg="add modTransition">
        <pc:chgData name="Anand Prabhu" userId="6c4c423f-d1f2-47b1-99e3-069c840331b4" providerId="ADAL" clId="{407BBD3C-1B86-4C8F-B216-865FC2E31A5C}" dt="2020-05-28T08:54:27.808" v="86"/>
        <pc:sldMkLst>
          <pc:docMk/>
          <pc:sldMk cId="723145865" sldId="784"/>
        </pc:sldMkLst>
      </pc:sldChg>
      <pc:sldChg chg="add del">
        <pc:chgData name="Anand Prabhu" userId="6c4c423f-d1f2-47b1-99e3-069c840331b4" providerId="ADAL" clId="{407BBD3C-1B86-4C8F-B216-865FC2E31A5C}" dt="2020-05-28T08:48:46.298" v="10" actId="2696"/>
        <pc:sldMkLst>
          <pc:docMk/>
          <pc:sldMk cId="2901642100" sldId="784"/>
        </pc:sldMkLst>
      </pc:sldChg>
      <pc:sldChg chg="del">
        <pc:chgData name="Anand Prabhu" userId="6c4c423f-d1f2-47b1-99e3-069c840331b4" providerId="ADAL" clId="{407BBD3C-1B86-4C8F-B216-865FC2E31A5C}" dt="2020-05-28T08:48:46.324" v="11" actId="2696"/>
        <pc:sldMkLst>
          <pc:docMk/>
          <pc:sldMk cId="246492512" sldId="788"/>
        </pc:sldMkLst>
      </pc:sldChg>
      <pc:sldChg chg="add modTransition">
        <pc:chgData name="Anand Prabhu" userId="6c4c423f-d1f2-47b1-99e3-069c840331b4" providerId="ADAL" clId="{407BBD3C-1B86-4C8F-B216-865FC2E31A5C}" dt="2020-05-28T08:54:33.737" v="87"/>
        <pc:sldMkLst>
          <pc:docMk/>
          <pc:sldMk cId="1272676977" sldId="788"/>
        </pc:sldMkLst>
      </pc:sldChg>
      <pc:sldChg chg="modSp">
        <pc:chgData name="Anand Prabhu" userId="6c4c423f-d1f2-47b1-99e3-069c840331b4" providerId="ADAL" clId="{407BBD3C-1B86-4C8F-B216-865FC2E31A5C}" dt="2020-05-28T08:57:18.697" v="94" actId="20577"/>
        <pc:sldMkLst>
          <pc:docMk/>
          <pc:sldMk cId="3846560943" sldId="1715"/>
        </pc:sldMkLst>
        <pc:spChg chg="mod">
          <ac:chgData name="Anand Prabhu" userId="6c4c423f-d1f2-47b1-99e3-069c840331b4" providerId="ADAL" clId="{407BBD3C-1B86-4C8F-B216-865FC2E31A5C}" dt="2020-05-28T08:57:18.697" v="94" actId="20577"/>
          <ac:spMkLst>
            <pc:docMk/>
            <pc:sldMk cId="3846560943" sldId="1715"/>
            <ac:spMk id="13" creationId="{00000000-0000-0000-0000-000000000000}"/>
          </ac:spMkLst>
        </pc:spChg>
      </pc:sldChg>
      <pc:sldChg chg="add modTransition">
        <pc:chgData name="Anand Prabhu" userId="6c4c423f-d1f2-47b1-99e3-069c840331b4" providerId="ADAL" clId="{407BBD3C-1B86-4C8F-B216-865FC2E31A5C}" dt="2020-05-28T08:54:27.808" v="86"/>
        <pc:sldMkLst>
          <pc:docMk/>
          <pc:sldMk cId="2816930418" sldId="1721"/>
        </pc:sldMkLst>
      </pc:sldChg>
      <pc:sldChg chg="add del">
        <pc:chgData name="Anand Prabhu" userId="6c4c423f-d1f2-47b1-99e3-069c840331b4" providerId="ADAL" clId="{407BBD3C-1B86-4C8F-B216-865FC2E31A5C}" dt="2020-05-28T08:48:46.060" v="3" actId="2696"/>
        <pc:sldMkLst>
          <pc:docMk/>
          <pc:sldMk cId="3193827469" sldId="1721"/>
        </pc:sldMkLst>
      </pc:sldChg>
      <pc:sldChg chg="add modTransition">
        <pc:chgData name="Anand Prabhu" userId="6c4c423f-d1f2-47b1-99e3-069c840331b4" providerId="ADAL" clId="{407BBD3C-1B86-4C8F-B216-865FC2E31A5C}" dt="2020-05-28T09:01:05" v="98"/>
        <pc:sldMkLst>
          <pc:docMk/>
          <pc:sldMk cId="886129732" sldId="4485"/>
        </pc:sldMkLst>
      </pc:sldChg>
      <pc:sldChg chg="addSp delSp modSp">
        <pc:chgData name="Anand Prabhu" userId="6c4c423f-d1f2-47b1-99e3-069c840331b4" providerId="ADAL" clId="{407BBD3C-1B86-4C8F-B216-865FC2E31A5C}" dt="2020-05-28T09:01:58.825" v="147" actId="20577"/>
        <pc:sldMkLst>
          <pc:docMk/>
          <pc:sldMk cId="255522928" sldId="4552"/>
        </pc:sldMkLst>
        <pc:spChg chg="mod">
          <ac:chgData name="Anand Prabhu" userId="6c4c423f-d1f2-47b1-99e3-069c840331b4" providerId="ADAL" clId="{407BBD3C-1B86-4C8F-B216-865FC2E31A5C}" dt="2020-05-28T09:01:42.761" v="121" actId="20577"/>
          <ac:spMkLst>
            <pc:docMk/>
            <pc:sldMk cId="255522928" sldId="4552"/>
            <ac:spMk id="4" creationId="{0CBBCC2F-A72A-4C83-B55B-854D4744619E}"/>
          </ac:spMkLst>
        </pc:spChg>
        <pc:spChg chg="mod">
          <ac:chgData name="Anand Prabhu" userId="6c4c423f-d1f2-47b1-99e3-069c840331b4" providerId="ADAL" clId="{407BBD3C-1B86-4C8F-B216-865FC2E31A5C}" dt="2020-05-28T09:01:58.825" v="147" actId="20577"/>
          <ac:spMkLst>
            <pc:docMk/>
            <pc:sldMk cId="255522928" sldId="4552"/>
            <ac:spMk id="5" creationId="{309F469F-455A-45B1-A682-1C40A1BBBC5A}"/>
          </ac:spMkLst>
        </pc:spChg>
        <pc:spChg chg="add del">
          <ac:chgData name="Anand Prabhu" userId="6c4c423f-d1f2-47b1-99e3-069c840331b4" providerId="ADAL" clId="{407BBD3C-1B86-4C8F-B216-865FC2E31A5C}" dt="2020-05-28T09:00:09.395" v="96"/>
          <ac:spMkLst>
            <pc:docMk/>
            <pc:sldMk cId="255522928" sldId="4552"/>
            <ac:spMk id="6" creationId="{EA3303E1-CDC4-4937-82A4-8BF13AB43D17}"/>
          </ac:spMkLst>
        </pc:spChg>
      </pc:sldChg>
      <pc:sldChg chg="modSp add modTransition">
        <pc:chgData name="Anand Prabhu" userId="6c4c423f-d1f2-47b1-99e3-069c840331b4" providerId="ADAL" clId="{407BBD3C-1B86-4C8F-B216-865FC2E31A5C}" dt="2020-05-28T08:54:27.808" v="86"/>
        <pc:sldMkLst>
          <pc:docMk/>
          <pc:sldMk cId="2977808609" sldId="4560"/>
        </pc:sldMkLst>
        <pc:spChg chg="mod">
          <ac:chgData name="Anand Prabhu" userId="6c4c423f-d1f2-47b1-99e3-069c840331b4" providerId="ADAL" clId="{407BBD3C-1B86-4C8F-B216-865FC2E31A5C}" dt="2020-05-28T08:51:20.560" v="57" actId="20577"/>
          <ac:spMkLst>
            <pc:docMk/>
            <pc:sldMk cId="2977808609" sldId="4560"/>
            <ac:spMk id="4" creationId="{0CBBCC2F-A72A-4C83-B55B-854D4744619E}"/>
          </ac:spMkLst>
        </pc:spChg>
      </pc:sldChg>
      <pc:sldChg chg="add del">
        <pc:chgData name="Anand Prabhu" userId="6c4c423f-d1f2-47b1-99e3-069c840331b4" providerId="ADAL" clId="{407BBD3C-1B86-4C8F-B216-865FC2E31A5C}" dt="2020-05-28T08:48:54.082" v="13" actId="2696"/>
        <pc:sldMkLst>
          <pc:docMk/>
          <pc:sldMk cId="3343923735" sldId="4560"/>
        </pc:sldMkLst>
      </pc:sldChg>
      <pc:sldChg chg="add del">
        <pc:chgData name="Anand Prabhu" userId="6c4c423f-d1f2-47b1-99e3-069c840331b4" providerId="ADAL" clId="{407BBD3C-1B86-4C8F-B216-865FC2E31A5C}" dt="2020-05-28T08:50:37.730" v="16"/>
        <pc:sldMkLst>
          <pc:docMk/>
          <pc:sldMk cId="3662854349" sldId="4560"/>
        </pc:sldMkLst>
      </pc:sldChg>
      <pc:sldChg chg="add del">
        <pc:chgData name="Anand Prabhu" userId="6c4c423f-d1f2-47b1-99e3-069c840331b4" providerId="ADAL" clId="{407BBD3C-1B86-4C8F-B216-865FC2E31A5C}" dt="2020-05-28T08:50:37.730" v="16"/>
        <pc:sldMkLst>
          <pc:docMk/>
          <pc:sldMk cId="38486639" sldId="4561"/>
        </pc:sldMkLst>
      </pc:sldChg>
      <pc:sldChg chg="add modTransition">
        <pc:chgData name="Anand Prabhu" userId="6c4c423f-d1f2-47b1-99e3-069c840331b4" providerId="ADAL" clId="{407BBD3C-1B86-4C8F-B216-865FC2E31A5C}" dt="2020-05-28T09:00:19.360" v="97"/>
        <pc:sldMkLst>
          <pc:docMk/>
          <pc:sldMk cId="3358274151" sldId="4561"/>
        </pc:sldMkLst>
      </pc:sldChg>
      <pc:sldChg chg="add">
        <pc:chgData name="Anand Prabhu" userId="6c4c423f-d1f2-47b1-99e3-069c840331b4" providerId="ADAL" clId="{407BBD3C-1B86-4C8F-B216-865FC2E31A5C}" dt="2020-05-28T09:01:15.903" v="99"/>
        <pc:sldMkLst>
          <pc:docMk/>
          <pc:sldMk cId="553738937" sldId="4562"/>
        </pc:sldMkLst>
      </pc:sldChg>
      <pc:sldChg chg="add del">
        <pc:chgData name="Anand Prabhu" userId="6c4c423f-d1f2-47b1-99e3-069c840331b4" providerId="ADAL" clId="{407BBD3C-1B86-4C8F-B216-865FC2E31A5C}" dt="2020-05-28T08:50:37.730" v="16"/>
        <pc:sldMkLst>
          <pc:docMk/>
          <pc:sldMk cId="568582851" sldId="4562"/>
        </pc:sldMkLst>
      </pc:sldChg>
      <pc:sldChg chg="add del">
        <pc:chgData name="Anand Prabhu" userId="6c4c423f-d1f2-47b1-99e3-069c840331b4" providerId="ADAL" clId="{407BBD3C-1B86-4C8F-B216-865FC2E31A5C}" dt="2020-05-28T08:50:37.730" v="16"/>
        <pc:sldMkLst>
          <pc:docMk/>
          <pc:sldMk cId="2490157729" sldId="4563"/>
        </pc:sldMkLst>
      </pc:sldChg>
      <pc:sldChg chg="add del">
        <pc:chgData name="Anand Prabhu" userId="6c4c423f-d1f2-47b1-99e3-069c840331b4" providerId="ADAL" clId="{407BBD3C-1B86-4C8F-B216-865FC2E31A5C}" dt="2020-05-28T08:50:37.730" v="16"/>
        <pc:sldMkLst>
          <pc:docMk/>
          <pc:sldMk cId="2173469247" sldId="4564"/>
        </pc:sldMkLst>
      </pc:sldChg>
      <pc:sldChg chg="add del">
        <pc:chgData name="Anand Prabhu" userId="6c4c423f-d1f2-47b1-99e3-069c840331b4" providerId="ADAL" clId="{407BBD3C-1B86-4C8F-B216-865FC2E31A5C}" dt="2020-05-28T08:50:37.730" v="16"/>
        <pc:sldMkLst>
          <pc:docMk/>
          <pc:sldMk cId="1622500529" sldId="4565"/>
        </pc:sldMkLst>
      </pc:sldChg>
      <pc:sldChg chg="add del">
        <pc:chgData name="Anand Prabhu" userId="6c4c423f-d1f2-47b1-99e3-069c840331b4" providerId="ADAL" clId="{407BBD3C-1B86-4C8F-B216-865FC2E31A5C}" dt="2020-05-28T08:50:37.730" v="16"/>
        <pc:sldMkLst>
          <pc:docMk/>
          <pc:sldMk cId="3373542276" sldId="4566"/>
        </pc:sldMkLst>
      </pc:sldChg>
      <pc:sldChg chg="add del">
        <pc:chgData name="Anand Prabhu" userId="6c4c423f-d1f2-47b1-99e3-069c840331b4" providerId="ADAL" clId="{407BBD3C-1B86-4C8F-B216-865FC2E31A5C}" dt="2020-05-28T08:50:37.730" v="16"/>
        <pc:sldMkLst>
          <pc:docMk/>
          <pc:sldMk cId="2363907448" sldId="4567"/>
        </pc:sldMkLst>
      </pc:sldChg>
      <pc:sldChg chg="add del">
        <pc:chgData name="Anand Prabhu" userId="6c4c423f-d1f2-47b1-99e3-069c840331b4" providerId="ADAL" clId="{407BBD3C-1B86-4C8F-B216-865FC2E31A5C}" dt="2020-05-28T08:50:37.730" v="16"/>
        <pc:sldMkLst>
          <pc:docMk/>
          <pc:sldMk cId="3482558559" sldId="4568"/>
        </pc:sldMkLst>
      </pc:sldChg>
      <pc:sldChg chg="add del">
        <pc:chgData name="Anand Prabhu" userId="6c4c423f-d1f2-47b1-99e3-069c840331b4" providerId="ADAL" clId="{407BBD3C-1B86-4C8F-B216-865FC2E31A5C}" dt="2020-05-28T08:50:37.730" v="16"/>
        <pc:sldMkLst>
          <pc:docMk/>
          <pc:sldMk cId="2541227575" sldId="4569"/>
        </pc:sldMkLst>
      </pc:sldChg>
      <pc:sldMasterChg chg="delSldLayout">
        <pc:chgData name="Anand Prabhu" userId="6c4c423f-d1f2-47b1-99e3-069c840331b4" providerId="ADAL" clId="{407BBD3C-1B86-4C8F-B216-865FC2E31A5C}" dt="2020-05-28T08:48:46.325" v="12" actId="2696"/>
        <pc:sldMasterMkLst>
          <pc:docMk/>
          <pc:sldMasterMk cId="3362795782" sldId="2147483786"/>
        </pc:sldMasterMkLst>
        <pc:sldLayoutChg chg="del">
          <pc:chgData name="Anand Prabhu" userId="6c4c423f-d1f2-47b1-99e3-069c840331b4" providerId="ADAL" clId="{407BBD3C-1B86-4C8F-B216-865FC2E31A5C}" dt="2020-05-28T08:48:46.325" v="12" actId="2696"/>
          <pc:sldLayoutMkLst>
            <pc:docMk/>
            <pc:sldMasterMk cId="3362795782" sldId="2147483786"/>
            <pc:sldLayoutMk cId="232526341" sldId="2147483811"/>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EAE8FA-D7B2-4534-825C-89895736491D}" type="datetimeFigureOut">
              <a:rPr lang="en-US" smtClean="0"/>
              <a:t>3/3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194323-46EB-47FD-802B-1151F9FD2B5B}" type="slidenum">
              <a:rPr lang="en-US" smtClean="0"/>
              <a:t>‹#›</a:t>
            </a:fld>
            <a:endParaRPr lang="en-US"/>
          </a:p>
        </p:txBody>
      </p:sp>
    </p:spTree>
    <p:extLst>
      <p:ext uri="{BB962C8B-B14F-4D97-AF65-F5344CB8AC3E}">
        <p14:creationId xmlns:p14="http://schemas.microsoft.com/office/powerpoint/2010/main" val="20237174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8891BDF-1689-4797-9CE0-509F56E95BE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1 4:1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2185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9949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4BF6E0A3-3EB6-4439-B375-3580FC4A5584}"/>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577358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51872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E3D99DBB-7351-417B-8D4F-A97A9174FB5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79247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5194323-46EB-47FD-802B-1151F9FD2B5B}" type="slidenum">
              <a:rPr lang="en-US" smtClean="0"/>
              <a:t>2</a:t>
            </a:fld>
            <a:endParaRPr lang="en-US"/>
          </a:p>
        </p:txBody>
      </p:sp>
    </p:spTree>
    <p:extLst>
      <p:ext uri="{BB962C8B-B14F-4D97-AF65-F5344CB8AC3E}">
        <p14:creationId xmlns:p14="http://schemas.microsoft.com/office/powerpoint/2010/main" val="502474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solidFill>
                <a:srgbClr val="FFFFFF">
                  <a:lumMod val="65000"/>
                </a:srgbClr>
              </a:solidFill>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3/31/2021 4:1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568407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Header Placeholder 3"/>
          <p:cNvSpPr>
            <a:spLocks noGrp="1"/>
          </p:cNvSpPr>
          <p:nvPr>
            <p:ph type="hdr" sz="quarter" idx="10"/>
          </p:nvPr>
        </p:nvSpPr>
        <p:spPr/>
        <p:txBody>
          <a:bodyPr/>
          <a:lstStyle/>
          <a:p>
            <a:pPr>
              <a:defRPr/>
            </a:pPr>
            <a:endParaRPr lang="en-US" sz="1800" kern="0" dirty="0">
              <a:solidFill>
                <a:prstClr val="black"/>
              </a:solidFill>
            </a:endParaRPr>
          </a:p>
        </p:txBody>
      </p:sp>
      <p:sp>
        <p:nvSpPr>
          <p:cNvPr id="5" name="Footer Placeholder 4"/>
          <p:cNvSpPr>
            <a:spLocks noGrp="1"/>
          </p:cNvSpPr>
          <p:nvPr>
            <p:ph type="ftr" sz="quarter" idx="11"/>
          </p:nvPr>
        </p:nvSpPr>
        <p:spPr/>
        <p:txBody>
          <a:bodyPr/>
          <a:lstStyle/>
          <a:p>
            <a:pPr defTabSz="966294"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64CFA94A-519F-445C-B30C-9E76FA6A2031}" type="datetime8">
              <a:rPr lang="en-US" sz="1800" kern="0" smtClean="0">
                <a:solidFill>
                  <a:prstClr val="black"/>
                </a:solidFill>
              </a:rPr>
              <a:pPr>
                <a:defRPr/>
              </a:pPr>
              <a:t>3/31/2021 4:16 PM</a:t>
            </a:fld>
            <a:endParaRPr lang="en-US" sz="1800" kern="0"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800" kern="0" smtClean="0">
                <a:solidFill>
                  <a:prstClr val="black"/>
                </a:solidFill>
              </a:rPr>
              <a:pPr>
                <a:defRPr/>
              </a:pPr>
              <a:t>7</a:t>
            </a:fld>
            <a:endParaRPr lang="en-US" sz="1800" kern="0" dirty="0">
              <a:solidFill>
                <a:prstClr val="black"/>
              </a:solidFill>
            </a:endParaRPr>
          </a:p>
        </p:txBody>
      </p:sp>
    </p:spTree>
    <p:extLst>
      <p:ext uri="{BB962C8B-B14F-4D97-AF65-F5344CB8AC3E}">
        <p14:creationId xmlns:p14="http://schemas.microsoft.com/office/powerpoint/2010/main" val="10596655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DC55AB2-5FDA-4C0F-A34E-A62CCD932AF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106719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011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963AD12-53CA-4702-93A7-A71A1BEF897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350399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1/2021 4: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142668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1 4:1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21255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22.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8295039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5097000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2223643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0501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35871343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39641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73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511559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58523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1752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4"/>
            <a:ext cx="11655078" cy="22632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9408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9_Title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6387" y="0"/>
            <a:ext cx="12208388" cy="6858000"/>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0" y="0"/>
            <a:ext cx="12191135" cy="6858000"/>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6274911" cy="1793090"/>
          </a:xfrm>
          <a:noFill/>
        </p:spPr>
        <p:txBody>
          <a:bodyPr lIns="146304" tIns="91440" rIns="146304" bIns="91440" anchor="t" anchorCtr="0"/>
          <a:lstStyle>
            <a:lvl1pPr>
              <a:defRPr sz="5294" spc="-98" baseline="0">
                <a:gradFill>
                  <a:gsLst>
                    <a:gs pos="89381">
                      <a:schemeClr val="tx1"/>
                    </a:gs>
                    <a:gs pos="64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69301" y="3878574"/>
            <a:ext cx="6274912" cy="1792326"/>
          </a:xfrm>
          <a:noFill/>
        </p:spPr>
        <p:txBody>
          <a:bodyPr lIns="164592" tIns="109728" rIns="164592" bIns="109728">
            <a:noAutofit/>
          </a:bodyPr>
          <a:lstStyle>
            <a:lvl1pPr marL="0" indent="0">
              <a:spcBef>
                <a:spcPts val="0"/>
              </a:spcBef>
              <a:buNone/>
              <a:defRPr sz="3137" spc="0" baseline="0">
                <a:gradFill>
                  <a:gsLst>
                    <a:gs pos="89381">
                      <a:schemeClr val="tx1"/>
                    </a:gs>
                    <a:gs pos="64000">
                      <a:schemeClr val="tx1"/>
                    </a:gs>
                  </a:gsLst>
                  <a:lin ang="5400000" scaled="0"/>
                </a:gradFill>
                <a:latin typeface="+mj-lt"/>
              </a:defRPr>
            </a:lvl1pPr>
          </a:lstStyle>
          <a:p>
            <a:pPr lvl="0"/>
            <a:r>
              <a:rPr lang="en-US"/>
              <a:t>for your hybrid environment</a:t>
            </a:r>
          </a:p>
        </p:txBody>
      </p:sp>
      <p:grpSp>
        <p:nvGrpSpPr>
          <p:cNvPr id="25" name="Group 24">
            <a:extLst>
              <a:ext uri="{FF2B5EF4-FFF2-40B4-BE49-F238E27FC236}">
                <a16:creationId xmlns:a16="http://schemas.microsoft.com/office/drawing/2014/main" id="{BA7CAD2D-A523-49D0-BFE5-36D87090CC80}"/>
              </a:ext>
            </a:extLst>
          </p:cNvPr>
          <p:cNvGrpSpPr>
            <a:grpSpLocks noChangeAspect="1"/>
          </p:cNvGrpSpPr>
          <p:nvPr userDrawn="1"/>
        </p:nvGrpSpPr>
        <p:grpSpPr bwMode="black">
          <a:xfrm>
            <a:off x="459102" y="470067"/>
            <a:ext cx="1419662" cy="304828"/>
            <a:chOff x="457200" y="1643393"/>
            <a:chExt cx="4492753" cy="964540"/>
          </a:xfrm>
        </p:grpSpPr>
        <p:pic>
          <p:nvPicPr>
            <p:cNvPr id="26" name="Picture 25">
              <a:extLst>
                <a:ext uri="{FF2B5EF4-FFF2-40B4-BE49-F238E27FC236}">
                  <a16:creationId xmlns:a16="http://schemas.microsoft.com/office/drawing/2014/main" id="{A9056999-B9F1-4B54-AC0B-2E30B71879D6}"/>
                </a:ext>
              </a:extLst>
            </p:cNvPr>
            <p:cNvPicPr>
              <a:picLocks noChangeAspect="1"/>
            </p:cNvPicPr>
            <p:nvPr/>
          </p:nvPicPr>
          <p:blipFill>
            <a:blip r:embed="rId3"/>
            <a:stretch>
              <a:fillRect/>
            </a:stretch>
          </p:blipFill>
          <p:spPr bwMode="black">
            <a:xfrm>
              <a:off x="457200" y="1643393"/>
              <a:ext cx="964540" cy="964540"/>
            </a:xfrm>
            <a:prstGeom prst="rect">
              <a:avLst/>
            </a:prstGeom>
          </p:spPr>
        </p:pic>
        <p:sp>
          <p:nvSpPr>
            <p:cNvPr id="27" name="Freeform 12">
              <a:extLst>
                <a:ext uri="{FF2B5EF4-FFF2-40B4-BE49-F238E27FC236}">
                  <a16:creationId xmlns:a16="http://schemas.microsoft.com/office/drawing/2014/main" id="{0D968956-170E-40B1-9729-5DF0A40E647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699897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0189618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74464907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userDrawn="1"/>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64337300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4419574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230395408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178463573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920398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41860486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only no breadcrumb">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49593253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398292" y="3812779"/>
            <a:ext cx="8311487" cy="1019174"/>
          </a:xfrm>
        </p:spPr>
        <p:txBody>
          <a:bodyPr anchor="b">
            <a:normAutofit/>
          </a:bodyPr>
          <a:lstStyle>
            <a:lvl1pPr algn="ctr">
              <a:defRPr sz="4800">
                <a:solidFill>
                  <a:schemeClr val="tx1">
                    <a:lumMod val="50000"/>
                    <a:lumOff val="50000"/>
                  </a:schemeClr>
                </a:solidFill>
                <a:latin typeface="Segoe UI Light" panose="020B0502040204020203" pitchFamily="34" charset="0"/>
              </a:defRPr>
            </a:lvl1pPr>
          </a:lstStyle>
          <a:p>
            <a:r>
              <a:rPr lang="en-US"/>
              <a:t>Click to edit Master title style</a:t>
            </a:r>
          </a:p>
        </p:txBody>
      </p:sp>
      <p:sp>
        <p:nvSpPr>
          <p:cNvPr id="3" name="Subtitle 2"/>
          <p:cNvSpPr>
            <a:spLocks noGrp="1"/>
          </p:cNvSpPr>
          <p:nvPr>
            <p:ph type="subTitle" idx="1"/>
          </p:nvPr>
        </p:nvSpPr>
        <p:spPr>
          <a:xfrm>
            <a:off x="3398292" y="5151110"/>
            <a:ext cx="8311486" cy="969005"/>
          </a:xfrm>
        </p:spPr>
        <p:txBody>
          <a:bodyPr anchor="ctr"/>
          <a:lstStyle>
            <a:lvl1pPr marL="0" indent="0" algn="ctr">
              <a:buNone/>
              <a:defRPr sz="2400">
                <a:solidFill>
                  <a:srgbClr val="0070C0"/>
                </a:solidFill>
                <a:latin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39534" y="6341473"/>
            <a:ext cx="2743200" cy="365125"/>
          </a:xfrm>
        </p:spPr>
        <p:txBody>
          <a:bodyPr/>
          <a:lstStyle/>
          <a:p>
            <a:fld id="{D8AD1322-8C57-468B-83EA-78284625AF84}" type="slidenum">
              <a:rPr lang="en-US" smtClean="0"/>
              <a:t>‹#›</a:t>
            </a:fld>
            <a:endParaRPr lang="en-US"/>
          </a:p>
        </p:txBody>
      </p:sp>
      <p:sp>
        <p:nvSpPr>
          <p:cNvPr id="7" name="Rectangle 6"/>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256725" y="218364"/>
            <a:ext cx="3030816" cy="64144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p:cNvCxnSpPr/>
          <p:nvPr/>
        </p:nvCxnSpPr>
        <p:spPr>
          <a:xfrm>
            <a:off x="3398292" y="4995081"/>
            <a:ext cx="840804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3326610" y="1366347"/>
            <a:ext cx="5767316" cy="646331"/>
          </a:xfrm>
          <a:prstGeom prst="rect">
            <a:avLst/>
          </a:prstGeom>
        </p:spPr>
        <p:txBody>
          <a:bodyPr wrap="square">
            <a:spAutoFit/>
          </a:bodyPr>
          <a:lstStyle/>
          <a:p>
            <a:pPr algn="ctr"/>
            <a:r>
              <a:rPr lang="en-US" sz="3600" dirty="0">
                <a:solidFill>
                  <a:schemeClr val="tx1">
                    <a:lumMod val="50000"/>
                    <a:lumOff val="50000"/>
                  </a:schemeClr>
                </a:solidFill>
                <a:latin typeface="Segoe UI Light" panose="020B0502040204020203" pitchFamily="34" charset="0"/>
              </a:rPr>
              <a:t>Accelerate Modernization</a:t>
            </a:r>
          </a:p>
        </p:txBody>
      </p:sp>
      <p:pic>
        <p:nvPicPr>
          <p:cNvPr id="29" name="Picture 2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8704" y="2958487"/>
            <a:ext cx="4693266" cy="632934"/>
          </a:xfrm>
          <a:prstGeom prst="rect">
            <a:avLst/>
          </a:prstGeom>
        </p:spPr>
      </p:pic>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21424" y="424483"/>
            <a:ext cx="3184909" cy="2855436"/>
          </a:xfrm>
          <a:prstGeom prst="rect">
            <a:avLst/>
          </a:prstGeom>
        </p:spPr>
      </p:pic>
      <p:sp>
        <p:nvSpPr>
          <p:cNvPr id="8" name="Rectangle 7"/>
          <p:cNvSpPr/>
          <p:nvPr/>
        </p:nvSpPr>
        <p:spPr>
          <a:xfrm>
            <a:off x="5663661" y="1925748"/>
            <a:ext cx="3070649" cy="323165"/>
          </a:xfrm>
          <a:prstGeom prst="rect">
            <a:avLst/>
          </a:prstGeom>
        </p:spPr>
        <p:txBody>
          <a:bodyPr wrap="none">
            <a:spAutoFit/>
          </a:bodyPr>
          <a:lstStyle/>
          <a:p>
            <a:pPr algn="ctr"/>
            <a:r>
              <a:rPr lang="en-US" sz="1500" b="0" dirty="0">
                <a:solidFill>
                  <a:srgbClr val="0070C0"/>
                </a:solidFill>
                <a:latin typeface="Segoe UI" panose="020B0502040204020203" pitchFamily="34" charset="0"/>
                <a:ea typeface="Segoe UI" panose="020B0502040204020203" pitchFamily="34" charset="0"/>
                <a:cs typeface="Segoe UI" panose="020B0502040204020203" pitchFamily="34" charset="0"/>
              </a:rPr>
              <a:t>Social . Mobility . Analytics</a:t>
            </a:r>
            <a:r>
              <a:rPr lang="en-US" sz="1500" b="0" baseline="0" dirty="0">
                <a:solidFill>
                  <a:srgbClr val="0070C0"/>
                </a:solidFill>
                <a:latin typeface="Segoe UI" panose="020B0502040204020203" pitchFamily="34" charset="0"/>
                <a:ea typeface="Segoe UI" panose="020B0502040204020203" pitchFamily="34" charset="0"/>
                <a:cs typeface="Segoe UI" panose="020B0502040204020203" pitchFamily="34" charset="0"/>
              </a:rPr>
              <a:t> . Cloud</a:t>
            </a:r>
            <a:endParaRPr lang="en-US" sz="1500" b="0"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91267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5785" y="365125"/>
            <a:ext cx="11382233" cy="767639"/>
          </a:xfrm>
        </p:spPr>
        <p:txBody>
          <a:bodyPr>
            <a:normAutofit/>
          </a:bodyPr>
          <a:lstStyle>
            <a:lvl1pPr>
              <a:defRPr sz="2400">
                <a:solidFill>
                  <a:srgbClr val="0070C0"/>
                </a:solidFill>
                <a:latin typeface="Segoe UI Semibold" panose="020B0702040204020203" pitchFamily="34" charset="0"/>
                <a:ea typeface="Segoe UI" panose="020B0502040204020203" pitchFamily="34" charset="0"/>
                <a:cs typeface="Segoe UI" panose="020B0502040204020203" pitchFamily="34" charset="0"/>
              </a:defRPr>
            </a:lvl1pPr>
          </a:lstStyle>
          <a:p>
            <a:r>
              <a:rPr lang="en-US"/>
              <a:t>Click to edit Master title style</a:t>
            </a:r>
          </a:p>
        </p:txBody>
      </p:sp>
      <p:sp>
        <p:nvSpPr>
          <p:cNvPr id="3" name="Content Placeholder 2"/>
          <p:cNvSpPr>
            <a:spLocks noGrp="1"/>
          </p:cNvSpPr>
          <p:nvPr>
            <p:ph idx="1"/>
          </p:nvPr>
        </p:nvSpPr>
        <p:spPr>
          <a:xfrm>
            <a:off x="395785" y="1443897"/>
            <a:ext cx="11382233" cy="5045554"/>
          </a:xfrm>
        </p:spPr>
        <p:txBody>
          <a:bodyPr>
            <a:normAutofit/>
          </a:bodyPr>
          <a:lstStyle>
            <a:lvl1pPr>
              <a:defRPr sz="24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6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6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7" name="Rectangle 6"/>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p:cNvCxnSpPr/>
          <p:nvPr/>
        </p:nvCxnSpPr>
        <p:spPr>
          <a:xfrm>
            <a:off x="245660" y="1279525"/>
            <a:ext cx="503602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5281684" y="1215190"/>
            <a:ext cx="124326" cy="1243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6827001" y="313900"/>
            <a:ext cx="5073845" cy="2478445"/>
            <a:chOff x="6635933" y="200380"/>
            <a:chExt cx="5073845" cy="2478445"/>
          </a:xfrm>
        </p:grpSpPr>
        <p:sp>
          <p:nvSpPr>
            <p:cNvPr id="14" name="Rectangle: Rounded Corners 13"/>
            <p:cNvSpPr/>
            <p:nvPr/>
          </p:nvSpPr>
          <p:spPr>
            <a:xfrm>
              <a:off x="7305607" y="200380"/>
              <a:ext cx="796212" cy="77133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p:cNvSpPr/>
            <p:nvPr/>
          </p:nvSpPr>
          <p:spPr>
            <a:xfrm>
              <a:off x="8804725" y="458140"/>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p:cNvSpPr/>
            <p:nvPr/>
          </p:nvSpPr>
          <p:spPr>
            <a:xfrm>
              <a:off x="8462603" y="1907495"/>
              <a:ext cx="796212" cy="771330"/>
            </a:xfrm>
            <a:prstGeom prst="roundRect">
              <a:avLst>
                <a:gd name="adj" fmla="val 3764"/>
              </a:avLst>
            </a:prstGeom>
            <a:solidFill>
              <a:srgbClr val="B2B2B2">
                <a:alpha val="3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p:cNvSpPr/>
            <p:nvPr/>
          </p:nvSpPr>
          <p:spPr>
            <a:xfrm>
              <a:off x="9146848" y="128250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p:cNvSpPr/>
            <p:nvPr/>
          </p:nvSpPr>
          <p:spPr>
            <a:xfrm>
              <a:off x="7941410" y="792047"/>
              <a:ext cx="639381" cy="61940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p:cNvSpPr/>
            <p:nvPr/>
          </p:nvSpPr>
          <p:spPr>
            <a:xfrm>
              <a:off x="7716153" y="1605650"/>
              <a:ext cx="639381" cy="61940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p:cNvSpPr/>
            <p:nvPr/>
          </p:nvSpPr>
          <p:spPr>
            <a:xfrm>
              <a:off x="8507467" y="1171388"/>
              <a:ext cx="564845" cy="54719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p:cNvSpPr/>
            <p:nvPr/>
          </p:nvSpPr>
          <p:spPr>
            <a:xfrm>
              <a:off x="10432141" y="824398"/>
              <a:ext cx="446465" cy="432512"/>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p:cNvSpPr/>
            <p:nvPr/>
          </p:nvSpPr>
          <p:spPr>
            <a:xfrm>
              <a:off x="9980380" y="1137850"/>
              <a:ext cx="564845" cy="547193"/>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p:cNvSpPr/>
            <p:nvPr/>
          </p:nvSpPr>
          <p:spPr>
            <a:xfrm>
              <a:off x="9767706" y="1872314"/>
              <a:ext cx="629444" cy="60977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p:cNvSpPr/>
            <p:nvPr/>
          </p:nvSpPr>
          <p:spPr>
            <a:xfrm>
              <a:off x="6964281" y="782202"/>
              <a:ext cx="533580" cy="516905"/>
            </a:xfrm>
            <a:prstGeom prst="roundRect">
              <a:avLst>
                <a:gd name="adj" fmla="val 3764"/>
              </a:avLst>
            </a:prstGeom>
            <a:solidFill>
              <a:srgbClr val="B2B2B2">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p:cNvSpPr/>
            <p:nvPr/>
          </p:nvSpPr>
          <p:spPr>
            <a:xfrm>
              <a:off x="6635933" y="471069"/>
              <a:ext cx="452249" cy="438116"/>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p:cNvSpPr/>
            <p:nvPr/>
          </p:nvSpPr>
          <p:spPr>
            <a:xfrm>
              <a:off x="10913566" y="133291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Rounded Corners 26"/>
            <p:cNvSpPr/>
            <p:nvPr/>
          </p:nvSpPr>
          <p:spPr>
            <a:xfrm>
              <a:off x="10505113" y="1949547"/>
              <a:ext cx="555406" cy="538049"/>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Rectangle 28"/>
          <p:cNvSpPr/>
          <p:nvPr/>
        </p:nvSpPr>
        <p:spPr>
          <a:xfrm>
            <a:off x="6509982" y="297516"/>
            <a:ext cx="5472752" cy="2868765"/>
          </a:xfrm>
          <a:prstGeom prst="rect">
            <a:avLst/>
          </a:prstGeom>
          <a:solidFill>
            <a:srgbClr val="FFFFFF">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27059" y="297516"/>
            <a:ext cx="3189796" cy="430176"/>
          </a:xfrm>
          <a:prstGeom prst="rect">
            <a:avLst/>
          </a:prstGeom>
        </p:spPr>
      </p:pic>
      <p:grpSp>
        <p:nvGrpSpPr>
          <p:cNvPr id="30" name="Group 29"/>
          <p:cNvGrpSpPr/>
          <p:nvPr/>
        </p:nvGrpSpPr>
        <p:grpSpPr>
          <a:xfrm>
            <a:off x="10530273" y="5880370"/>
            <a:ext cx="1301885" cy="606738"/>
            <a:chOff x="10717834" y="5953476"/>
            <a:chExt cx="1051094" cy="489858"/>
          </a:xfrm>
        </p:grpSpPr>
        <p:sp>
          <p:nvSpPr>
            <p:cNvPr id="31" name="Oval 30"/>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Slide Number Placeholder 5"/>
          <p:cNvSpPr>
            <a:spLocks noGrp="1"/>
          </p:cNvSpPr>
          <p:nvPr>
            <p:ph type="sldNum" sz="quarter" idx="12"/>
          </p:nvPr>
        </p:nvSpPr>
        <p:spPr>
          <a:xfrm>
            <a:off x="9088958" y="6247025"/>
            <a:ext cx="2743200" cy="365125"/>
          </a:xfrm>
        </p:spPr>
        <p:txBody>
          <a:bodyPr/>
          <a:lstStyle>
            <a:lvl1pPr>
              <a:defRPr>
                <a:solidFill>
                  <a:schemeClr val="bg1"/>
                </a:solidFill>
              </a:defRPr>
            </a:lvl1pPr>
          </a:lstStyle>
          <a:p>
            <a:fld id="{D8AD1322-8C57-468B-83EA-78284625AF84}" type="slidenum">
              <a:rPr lang="en-US" smtClean="0"/>
              <a:t>‹#›</a:t>
            </a:fld>
            <a:endParaRPr lang="en-US"/>
          </a:p>
        </p:txBody>
      </p:sp>
      <p:pic>
        <p:nvPicPr>
          <p:cNvPr id="42" name="Picture 4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2586" y="3398294"/>
            <a:ext cx="11877780" cy="3305596"/>
          </a:xfrm>
          <a:prstGeom prst="rect">
            <a:avLst/>
          </a:prstGeom>
        </p:spPr>
      </p:pic>
      <p:sp>
        <p:nvSpPr>
          <p:cNvPr id="43" name="Rectangle 42"/>
          <p:cNvSpPr/>
          <p:nvPr/>
        </p:nvSpPr>
        <p:spPr>
          <a:xfrm>
            <a:off x="281097" y="6073254"/>
            <a:ext cx="6024169" cy="4734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0281" y="6154349"/>
            <a:ext cx="5704653" cy="378141"/>
          </a:xfrm>
          <a:prstGeom prst="rect">
            <a:avLst/>
          </a:prstGeom>
        </p:spPr>
      </p:pic>
    </p:spTree>
    <p:extLst>
      <p:ext uri="{BB962C8B-B14F-4D97-AF65-F5344CB8AC3E}">
        <p14:creationId xmlns:p14="http://schemas.microsoft.com/office/powerpoint/2010/main" val="3498980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247842529"/>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39236" y="365125"/>
            <a:ext cx="8338782" cy="767639"/>
          </a:xfrm>
        </p:spPr>
        <p:txBody>
          <a:bodyPr>
            <a:normAutofit/>
          </a:bodyPr>
          <a:lstStyle>
            <a:lvl1pPr>
              <a:defRPr sz="2400">
                <a:solidFill>
                  <a:srgbClr val="0070C0"/>
                </a:solidFill>
                <a:latin typeface="Segoe UI Semibold" panose="020B0702040204020203" pitchFamily="34" charset="0"/>
                <a:ea typeface="Segoe UI" panose="020B0502040204020203" pitchFamily="34" charset="0"/>
                <a:cs typeface="Segoe UI" panose="020B0502040204020203" pitchFamily="34" charset="0"/>
              </a:defRPr>
            </a:lvl1pPr>
          </a:lstStyle>
          <a:p>
            <a:r>
              <a:rPr lang="en-US"/>
              <a:t>Click to edit Master title style</a:t>
            </a:r>
          </a:p>
        </p:txBody>
      </p:sp>
      <p:sp>
        <p:nvSpPr>
          <p:cNvPr id="3" name="Content Placeholder 2"/>
          <p:cNvSpPr>
            <a:spLocks noGrp="1"/>
          </p:cNvSpPr>
          <p:nvPr>
            <p:ph idx="1"/>
          </p:nvPr>
        </p:nvSpPr>
        <p:spPr>
          <a:xfrm>
            <a:off x="3439236" y="1443897"/>
            <a:ext cx="8338782" cy="5045554"/>
          </a:xfrm>
        </p:spPr>
        <p:txBody>
          <a:bodyPr>
            <a:normAutofit/>
          </a:bodyPr>
          <a:lstStyle>
            <a:lvl1pPr>
              <a:defRPr sz="24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6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6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7" name="Rectangle 6"/>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p:cNvCxnSpPr/>
          <p:nvPr/>
        </p:nvCxnSpPr>
        <p:spPr>
          <a:xfrm>
            <a:off x="2811446" y="1279525"/>
            <a:ext cx="503602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847470" y="1215190"/>
            <a:ext cx="124326" cy="1243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6827001" y="313900"/>
            <a:ext cx="5073845" cy="2478445"/>
            <a:chOff x="6635933" y="200380"/>
            <a:chExt cx="5073845" cy="2478445"/>
          </a:xfrm>
        </p:grpSpPr>
        <p:sp>
          <p:nvSpPr>
            <p:cNvPr id="14" name="Rectangle: Rounded Corners 13"/>
            <p:cNvSpPr/>
            <p:nvPr/>
          </p:nvSpPr>
          <p:spPr>
            <a:xfrm>
              <a:off x="7305607" y="200380"/>
              <a:ext cx="796212" cy="77133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p:cNvSpPr/>
            <p:nvPr/>
          </p:nvSpPr>
          <p:spPr>
            <a:xfrm>
              <a:off x="8804725" y="458140"/>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p:cNvSpPr/>
            <p:nvPr/>
          </p:nvSpPr>
          <p:spPr>
            <a:xfrm>
              <a:off x="8462603" y="1907495"/>
              <a:ext cx="796212" cy="771330"/>
            </a:xfrm>
            <a:prstGeom prst="roundRect">
              <a:avLst>
                <a:gd name="adj" fmla="val 3764"/>
              </a:avLst>
            </a:prstGeom>
            <a:solidFill>
              <a:srgbClr val="B2B2B2">
                <a:alpha val="3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p:cNvSpPr/>
            <p:nvPr/>
          </p:nvSpPr>
          <p:spPr>
            <a:xfrm>
              <a:off x="9146848" y="128250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p:cNvSpPr/>
            <p:nvPr/>
          </p:nvSpPr>
          <p:spPr>
            <a:xfrm>
              <a:off x="7941410" y="792047"/>
              <a:ext cx="639381" cy="61940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p:cNvSpPr/>
            <p:nvPr/>
          </p:nvSpPr>
          <p:spPr>
            <a:xfrm>
              <a:off x="7716153" y="1605650"/>
              <a:ext cx="639381" cy="61940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p:cNvSpPr/>
            <p:nvPr/>
          </p:nvSpPr>
          <p:spPr>
            <a:xfrm>
              <a:off x="8507467" y="1171388"/>
              <a:ext cx="564845" cy="54719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p:cNvSpPr/>
            <p:nvPr/>
          </p:nvSpPr>
          <p:spPr>
            <a:xfrm>
              <a:off x="10432141" y="824398"/>
              <a:ext cx="446465" cy="432512"/>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p:cNvSpPr/>
            <p:nvPr/>
          </p:nvSpPr>
          <p:spPr>
            <a:xfrm>
              <a:off x="9980380" y="1137850"/>
              <a:ext cx="564845" cy="547193"/>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p:cNvSpPr/>
            <p:nvPr/>
          </p:nvSpPr>
          <p:spPr>
            <a:xfrm>
              <a:off x="9767706" y="1872314"/>
              <a:ext cx="629444" cy="60977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p:cNvSpPr/>
            <p:nvPr/>
          </p:nvSpPr>
          <p:spPr>
            <a:xfrm>
              <a:off x="6964281" y="782202"/>
              <a:ext cx="533580" cy="516905"/>
            </a:xfrm>
            <a:prstGeom prst="roundRect">
              <a:avLst>
                <a:gd name="adj" fmla="val 3764"/>
              </a:avLst>
            </a:prstGeom>
            <a:solidFill>
              <a:srgbClr val="B2B2B2">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p:cNvSpPr/>
            <p:nvPr/>
          </p:nvSpPr>
          <p:spPr>
            <a:xfrm>
              <a:off x="6635933" y="471069"/>
              <a:ext cx="452249" cy="438116"/>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p:cNvSpPr/>
            <p:nvPr/>
          </p:nvSpPr>
          <p:spPr>
            <a:xfrm>
              <a:off x="10913566" y="133291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Rounded Corners 26"/>
            <p:cNvSpPr/>
            <p:nvPr/>
          </p:nvSpPr>
          <p:spPr>
            <a:xfrm>
              <a:off x="10505113" y="1949547"/>
              <a:ext cx="555406" cy="538049"/>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Rectangle 28"/>
          <p:cNvSpPr/>
          <p:nvPr/>
        </p:nvSpPr>
        <p:spPr>
          <a:xfrm>
            <a:off x="255621" y="218364"/>
            <a:ext cx="3030816" cy="64144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6509982" y="297516"/>
            <a:ext cx="5472752" cy="2868765"/>
          </a:xfrm>
          <a:prstGeom prst="rect">
            <a:avLst/>
          </a:prstGeom>
          <a:solidFill>
            <a:srgbClr val="FFFFFF">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27059" y="297516"/>
            <a:ext cx="3189796" cy="430176"/>
          </a:xfrm>
          <a:prstGeom prst="rect">
            <a:avLst/>
          </a:prstGeom>
        </p:spPr>
      </p:pic>
      <p:sp>
        <p:nvSpPr>
          <p:cNvPr id="6" name="Slide Number Placeholder 5"/>
          <p:cNvSpPr>
            <a:spLocks noGrp="1"/>
          </p:cNvSpPr>
          <p:nvPr>
            <p:ph type="sldNum" sz="quarter" idx="12"/>
          </p:nvPr>
        </p:nvSpPr>
        <p:spPr>
          <a:xfrm>
            <a:off x="9104965" y="6255092"/>
            <a:ext cx="2743200" cy="365125"/>
          </a:xfrm>
        </p:spPr>
        <p:txBody>
          <a:bodyPr/>
          <a:lstStyle>
            <a:lvl1pPr>
              <a:defRPr>
                <a:solidFill>
                  <a:schemeClr val="bg1"/>
                </a:solidFill>
                <a:latin typeface="Segoe UI Semibold" panose="020B0702040204020203" pitchFamily="34" charset="0"/>
              </a:defRPr>
            </a:lvl1pPr>
          </a:lstStyle>
          <a:p>
            <a:fld id="{D8AD1322-8C57-468B-83EA-78284625AF84}" type="slidenum">
              <a:rPr lang="en-US" smtClean="0"/>
              <a:t>‹#›</a:t>
            </a:fld>
            <a:endParaRPr lang="en-US"/>
          </a:p>
        </p:txBody>
      </p:sp>
      <p:grpSp>
        <p:nvGrpSpPr>
          <p:cNvPr id="31" name="Group 30"/>
          <p:cNvGrpSpPr/>
          <p:nvPr/>
        </p:nvGrpSpPr>
        <p:grpSpPr>
          <a:xfrm>
            <a:off x="10530273" y="5880370"/>
            <a:ext cx="1301885" cy="606738"/>
            <a:chOff x="10717834" y="5953476"/>
            <a:chExt cx="1051094" cy="489858"/>
          </a:xfrm>
        </p:grpSpPr>
        <p:sp>
          <p:nvSpPr>
            <p:cNvPr id="32" name="Oval 31"/>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4" name="Straight Connector 43"/>
          <p:cNvCxnSpPr/>
          <p:nvPr/>
        </p:nvCxnSpPr>
        <p:spPr>
          <a:xfrm>
            <a:off x="10319554" y="179130"/>
            <a:ext cx="0" cy="671154"/>
          </a:xfrm>
          <a:prstGeom prst="line">
            <a:avLst/>
          </a:prstGeom>
          <a:ln>
            <a:solidFill>
              <a:schemeClr val="bg1"/>
            </a:solidFill>
          </a:ln>
        </p:spPr>
        <p:style>
          <a:lnRef idx="1">
            <a:schemeClr val="accent3"/>
          </a:lnRef>
          <a:fillRef idx="0">
            <a:schemeClr val="accent3"/>
          </a:fillRef>
          <a:effectRef idx="0">
            <a:schemeClr val="accent3"/>
          </a:effectRef>
          <a:fontRef idx="minor">
            <a:schemeClr val="tx1"/>
          </a:fontRef>
        </p:style>
      </p:cxnSp>
      <p:pic>
        <p:nvPicPr>
          <p:cNvPr id="48" name="Picture 47"/>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a:xfrm>
            <a:off x="363187" y="4142472"/>
            <a:ext cx="2646289" cy="2372535"/>
          </a:xfrm>
          <a:prstGeom prst="rect">
            <a:avLst/>
          </a:prstGeom>
        </p:spPr>
      </p:pic>
    </p:spTree>
    <p:extLst>
      <p:ext uri="{BB962C8B-B14F-4D97-AF65-F5344CB8AC3E}">
        <p14:creationId xmlns:p14="http://schemas.microsoft.com/office/powerpoint/2010/main" val="77627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3" name="Rectangle 22"/>
          <p:cNvSpPr/>
          <p:nvPr/>
        </p:nvSpPr>
        <p:spPr>
          <a:xfrm>
            <a:off x="254974" y="4032574"/>
            <a:ext cx="11723425" cy="25959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1850" y="1709738"/>
            <a:ext cx="10515600" cy="2284973"/>
          </a:xfrm>
        </p:spPr>
        <p:txBody>
          <a:bodyPr anchor="ctr">
            <a:normAutofit/>
          </a:bodyPr>
          <a:lstStyle>
            <a:lvl1pPr algn="ctr">
              <a:defRPr sz="4400">
                <a:solidFill>
                  <a:schemeClr val="tx1">
                    <a:lumMod val="65000"/>
                    <a:lumOff val="35000"/>
                  </a:schemeClr>
                </a:solidFill>
                <a:latin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nchor="ctr"/>
          <a:lstStyle>
            <a:lvl1pPr marL="0" indent="0" algn="ctr">
              <a:buNone/>
              <a:defRPr sz="2400">
                <a:solidFill>
                  <a:schemeClr val="bg1"/>
                </a:solidFill>
                <a:latin typeface="Segoe UI Semibold" panose="020B07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036992" y="6220194"/>
            <a:ext cx="2743200" cy="365125"/>
          </a:xfrm>
        </p:spPr>
        <p:txBody>
          <a:bodyPr/>
          <a:lstStyle>
            <a:lvl1pPr>
              <a:defRPr>
                <a:solidFill>
                  <a:schemeClr val="bg1"/>
                </a:solidFill>
              </a:defRPr>
            </a:lvl1pPr>
          </a:lstStyle>
          <a:p>
            <a:fld id="{D8AD1322-8C57-468B-83EA-78284625AF84}" type="slidenum">
              <a:rPr lang="en-US" smtClean="0"/>
              <a:t>‹#›</a:t>
            </a:fld>
            <a:endParaRPr lang="en-US"/>
          </a:p>
        </p:txBody>
      </p:sp>
      <p:sp>
        <p:nvSpPr>
          <p:cNvPr id="7" name="Rectangle 6"/>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p:cNvGrpSpPr/>
          <p:nvPr/>
        </p:nvGrpSpPr>
        <p:grpSpPr>
          <a:xfrm>
            <a:off x="6827001" y="313900"/>
            <a:ext cx="5073845" cy="2478445"/>
            <a:chOff x="6635933" y="200380"/>
            <a:chExt cx="5073845" cy="2478445"/>
          </a:xfrm>
        </p:grpSpPr>
        <p:sp>
          <p:nvSpPr>
            <p:cNvPr id="9" name="Rectangle: Rounded Corners 8"/>
            <p:cNvSpPr/>
            <p:nvPr/>
          </p:nvSpPr>
          <p:spPr>
            <a:xfrm>
              <a:off x="7305607" y="200380"/>
              <a:ext cx="796212" cy="77133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p:cNvSpPr/>
            <p:nvPr/>
          </p:nvSpPr>
          <p:spPr>
            <a:xfrm>
              <a:off x="8804725" y="458140"/>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p:cNvSpPr/>
            <p:nvPr/>
          </p:nvSpPr>
          <p:spPr>
            <a:xfrm>
              <a:off x="8462603" y="1907495"/>
              <a:ext cx="796212" cy="771330"/>
            </a:xfrm>
            <a:prstGeom prst="roundRect">
              <a:avLst>
                <a:gd name="adj" fmla="val 3764"/>
              </a:avLst>
            </a:prstGeom>
            <a:solidFill>
              <a:srgbClr val="B2B2B2">
                <a:alpha val="3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p:cNvSpPr/>
            <p:nvPr/>
          </p:nvSpPr>
          <p:spPr>
            <a:xfrm>
              <a:off x="9146848" y="128250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p:cNvSpPr/>
            <p:nvPr/>
          </p:nvSpPr>
          <p:spPr>
            <a:xfrm>
              <a:off x="7941410" y="792047"/>
              <a:ext cx="639381" cy="61940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p:cNvSpPr/>
            <p:nvPr/>
          </p:nvSpPr>
          <p:spPr>
            <a:xfrm>
              <a:off x="7716153" y="1605650"/>
              <a:ext cx="639381" cy="619400"/>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p:cNvSpPr/>
            <p:nvPr/>
          </p:nvSpPr>
          <p:spPr>
            <a:xfrm>
              <a:off x="8507467" y="1171388"/>
              <a:ext cx="564845" cy="54719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p:cNvSpPr/>
            <p:nvPr/>
          </p:nvSpPr>
          <p:spPr>
            <a:xfrm>
              <a:off x="10432141" y="824398"/>
              <a:ext cx="446465" cy="432512"/>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p:cNvSpPr/>
            <p:nvPr/>
          </p:nvSpPr>
          <p:spPr>
            <a:xfrm>
              <a:off x="9980380" y="1137850"/>
              <a:ext cx="564845" cy="547193"/>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p:cNvSpPr/>
            <p:nvPr/>
          </p:nvSpPr>
          <p:spPr>
            <a:xfrm>
              <a:off x="9767706" y="1872314"/>
              <a:ext cx="629444" cy="609773"/>
            </a:xfrm>
            <a:prstGeom prst="roundRect">
              <a:avLst>
                <a:gd name="adj" fmla="val 3764"/>
              </a:avLst>
            </a:prstGeom>
            <a:solidFill>
              <a:schemeClr val="tx1">
                <a:alpha val="1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p:cNvSpPr/>
            <p:nvPr/>
          </p:nvSpPr>
          <p:spPr>
            <a:xfrm>
              <a:off x="6964281" y="782202"/>
              <a:ext cx="533580" cy="516905"/>
            </a:xfrm>
            <a:prstGeom prst="roundRect">
              <a:avLst>
                <a:gd name="adj" fmla="val 3764"/>
              </a:avLst>
            </a:prstGeom>
            <a:solidFill>
              <a:srgbClr val="B2B2B2">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p:cNvSpPr/>
            <p:nvPr/>
          </p:nvSpPr>
          <p:spPr>
            <a:xfrm>
              <a:off x="6635933" y="471069"/>
              <a:ext cx="452249" cy="438116"/>
            </a:xfrm>
            <a:prstGeom prst="roundRect">
              <a:avLst>
                <a:gd name="adj" fmla="val 3764"/>
              </a:avLst>
            </a:prstGeom>
            <a:solidFill>
              <a:srgbClr val="B2B2B2">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p:cNvSpPr/>
            <p:nvPr/>
          </p:nvSpPr>
          <p:spPr>
            <a:xfrm>
              <a:off x="10913566" y="1332916"/>
              <a:ext cx="796212" cy="771330"/>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p:cNvSpPr/>
            <p:nvPr/>
          </p:nvSpPr>
          <p:spPr>
            <a:xfrm>
              <a:off x="10505113" y="1949547"/>
              <a:ext cx="555406" cy="538049"/>
            </a:xfrm>
            <a:prstGeom prst="roundRect">
              <a:avLst>
                <a:gd name="adj" fmla="val 3764"/>
              </a:avLst>
            </a:prstGeom>
            <a:solidFill>
              <a:srgbClr val="B2B2B2">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1604" y="297516"/>
            <a:ext cx="3189796" cy="430176"/>
          </a:xfrm>
          <a:prstGeom prst="rect">
            <a:avLst/>
          </a:prstGeom>
        </p:spPr>
      </p:pic>
      <p:sp>
        <p:nvSpPr>
          <p:cNvPr id="27" name="Rectangle 26"/>
          <p:cNvSpPr/>
          <p:nvPr/>
        </p:nvSpPr>
        <p:spPr>
          <a:xfrm>
            <a:off x="6509982" y="297516"/>
            <a:ext cx="5472752" cy="2868765"/>
          </a:xfrm>
          <a:prstGeom prst="rect">
            <a:avLst/>
          </a:prstGeom>
          <a:solidFill>
            <a:srgbClr val="FFFFFF">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10588218" y="3721982"/>
            <a:ext cx="1301885" cy="606738"/>
            <a:chOff x="10717834" y="5953476"/>
            <a:chExt cx="1051094" cy="489858"/>
          </a:xfrm>
        </p:grpSpPr>
        <p:sp>
          <p:nvSpPr>
            <p:cNvPr id="29" name="Oval 28"/>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8" name="Picture 37"/>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a:xfrm>
            <a:off x="9336822" y="4416462"/>
            <a:ext cx="2165918" cy="1941858"/>
          </a:xfrm>
          <a:prstGeom prst="rect">
            <a:avLst/>
          </a:prstGeom>
        </p:spPr>
      </p:pic>
    </p:spTree>
    <p:extLst>
      <p:ext uri="{BB962C8B-B14F-4D97-AF65-F5344CB8AC3E}">
        <p14:creationId xmlns:p14="http://schemas.microsoft.com/office/powerpoint/2010/main" val="3705861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09C4FE2-AE5C-415E-B144-E5678787832C}" type="datetimeFigureOut">
              <a:rPr lang="en-US" smtClean="0"/>
              <a:t>3/31/2021</a:t>
            </a:fld>
            <a:endParaRPr lang="en-US"/>
          </a:p>
        </p:txBody>
      </p:sp>
      <p:sp>
        <p:nvSpPr>
          <p:cNvPr id="6" name="Footer Placeholder 5"/>
          <p:cNvSpPr>
            <a:spLocks noGrp="1"/>
          </p:cNvSpPr>
          <p:nvPr>
            <p:ph type="ftr" sz="quarter" idx="11"/>
          </p:nvPr>
        </p:nvSpPr>
        <p:spPr/>
        <p:txBody>
          <a:bodyPr/>
          <a:lstStyle/>
          <a:p>
            <a:endParaRPr lang="en-US"/>
          </a:p>
        </p:txBody>
      </p:sp>
      <p:sp>
        <p:nvSpPr>
          <p:cNvPr id="8" name="Rectangle 7"/>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1604" y="240366"/>
            <a:ext cx="3189796" cy="430176"/>
          </a:xfrm>
          <a:prstGeom prst="rect">
            <a:avLst/>
          </a:prstGeom>
        </p:spPr>
      </p:pic>
      <p:sp>
        <p:nvSpPr>
          <p:cNvPr id="10" name="Rectangle 9"/>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10530273" y="5880370"/>
            <a:ext cx="1301885" cy="606738"/>
            <a:chOff x="10717834" y="5953476"/>
            <a:chExt cx="1051094" cy="489858"/>
          </a:xfrm>
        </p:grpSpPr>
        <p:sp>
          <p:nvSpPr>
            <p:cNvPr id="14" name="Oval 13"/>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Slide Number Placeholder 6"/>
          <p:cNvSpPr>
            <a:spLocks noGrp="1"/>
          </p:cNvSpPr>
          <p:nvPr>
            <p:ph type="sldNum" sz="quarter" idx="12"/>
          </p:nvPr>
        </p:nvSpPr>
        <p:spPr>
          <a:xfrm>
            <a:off x="9088958" y="6247025"/>
            <a:ext cx="2743200" cy="365125"/>
          </a:xfrm>
        </p:spPr>
        <p:txBody>
          <a:bodyPr/>
          <a:lstStyle>
            <a:lvl1pPr>
              <a:defRPr>
                <a:solidFill>
                  <a:schemeClr val="bg1"/>
                </a:solidFill>
              </a:defRPr>
            </a:lvl1pPr>
          </a:lstStyle>
          <a:p>
            <a:fld id="{D8AD1322-8C57-468B-83EA-78284625AF84}" type="slidenum">
              <a:rPr lang="en-US" smtClean="0"/>
              <a:t>‹#›</a:t>
            </a:fld>
            <a:endParaRPr lang="en-US"/>
          </a:p>
        </p:txBody>
      </p:sp>
    </p:spTree>
    <p:extLst>
      <p:ext uri="{BB962C8B-B14F-4D97-AF65-F5344CB8AC3E}">
        <p14:creationId xmlns:p14="http://schemas.microsoft.com/office/powerpoint/2010/main" val="1764920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09C4FE2-AE5C-415E-B144-E5678787832C}" type="datetimeFigureOut">
              <a:rPr lang="en-US" smtClean="0"/>
              <a:t>3/31/2021</a:t>
            </a:fld>
            <a:endParaRPr lang="en-US"/>
          </a:p>
        </p:txBody>
      </p:sp>
      <p:sp>
        <p:nvSpPr>
          <p:cNvPr id="8" name="Footer Placeholder 7"/>
          <p:cNvSpPr>
            <a:spLocks noGrp="1"/>
          </p:cNvSpPr>
          <p:nvPr>
            <p:ph type="ftr" sz="quarter" idx="11"/>
          </p:nvPr>
        </p:nvSpPr>
        <p:spPr/>
        <p:txBody>
          <a:bodyPr/>
          <a:lstStyle/>
          <a:p>
            <a:endParaRPr lang="en-US"/>
          </a:p>
        </p:txBody>
      </p:sp>
      <p:sp>
        <p:nvSpPr>
          <p:cNvPr id="10" name="Rectangle 9"/>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1604" y="297516"/>
            <a:ext cx="3189796" cy="430176"/>
          </a:xfrm>
          <a:prstGeom prst="rect">
            <a:avLst/>
          </a:prstGeom>
        </p:spPr>
      </p:pic>
      <p:sp>
        <p:nvSpPr>
          <p:cNvPr id="12" name="Rectangle 11"/>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p:cNvGrpSpPr/>
          <p:nvPr/>
        </p:nvGrpSpPr>
        <p:grpSpPr>
          <a:xfrm>
            <a:off x="10530273" y="5880370"/>
            <a:ext cx="1301885" cy="606738"/>
            <a:chOff x="10717834" y="5953476"/>
            <a:chExt cx="1051094" cy="489858"/>
          </a:xfrm>
        </p:grpSpPr>
        <p:sp>
          <p:nvSpPr>
            <p:cNvPr id="16" name="Oval 15"/>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Slide Number Placeholder 8"/>
          <p:cNvSpPr>
            <a:spLocks noGrp="1"/>
          </p:cNvSpPr>
          <p:nvPr>
            <p:ph type="sldNum" sz="quarter" idx="12"/>
          </p:nvPr>
        </p:nvSpPr>
        <p:spPr>
          <a:xfrm>
            <a:off x="9088958" y="6275759"/>
            <a:ext cx="2743200" cy="365125"/>
          </a:xfrm>
        </p:spPr>
        <p:txBody>
          <a:bodyPr/>
          <a:lstStyle>
            <a:lvl1pPr>
              <a:defRPr>
                <a:solidFill>
                  <a:schemeClr val="bg1"/>
                </a:solidFill>
              </a:defRPr>
            </a:lvl1pPr>
          </a:lstStyle>
          <a:p>
            <a:fld id="{D8AD1322-8C57-468B-83EA-78284625AF84}" type="slidenum">
              <a:rPr lang="en-US" smtClean="0"/>
              <a:t>‹#›</a:t>
            </a:fld>
            <a:endParaRPr lang="en-US"/>
          </a:p>
        </p:txBody>
      </p:sp>
    </p:spTree>
    <p:extLst>
      <p:ext uri="{BB962C8B-B14F-4D97-AF65-F5344CB8AC3E}">
        <p14:creationId xmlns:p14="http://schemas.microsoft.com/office/powerpoint/2010/main" val="199456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9433" y="365125"/>
            <a:ext cx="10944367" cy="753991"/>
          </a:xfrm>
        </p:spPr>
        <p:txBody>
          <a:bodyPr>
            <a:normAutofit/>
          </a:bodyPr>
          <a:lstStyle>
            <a:lvl1pPr>
              <a:defRPr sz="2400">
                <a:solidFill>
                  <a:srgbClr val="0070C0"/>
                </a:solidFill>
                <a:latin typeface="Segoe UI Semibold" panose="020B0702040204020203"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p>
            <a:fld id="{209C4FE2-AE5C-415E-B144-E5678787832C}" type="datetimeFigureOut">
              <a:rPr lang="en-US" smtClean="0"/>
              <a:t>3/31/2021</a:t>
            </a:fld>
            <a:endParaRPr lang="en-US"/>
          </a:p>
        </p:txBody>
      </p:sp>
      <p:sp>
        <p:nvSpPr>
          <p:cNvPr id="4" name="Footer Placeholder 3"/>
          <p:cNvSpPr>
            <a:spLocks noGrp="1"/>
          </p:cNvSpPr>
          <p:nvPr>
            <p:ph type="ftr" sz="quarter" idx="11"/>
          </p:nvPr>
        </p:nvSpPr>
        <p:spPr/>
        <p:txBody>
          <a:bodyPr/>
          <a:lstStyle/>
          <a:p>
            <a:endParaRPr lang="en-US"/>
          </a:p>
        </p:txBody>
      </p:sp>
      <p:sp>
        <p:nvSpPr>
          <p:cNvPr id="6" name="Rectangle 5"/>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56544" y="297516"/>
            <a:ext cx="3189796" cy="430176"/>
          </a:xfrm>
          <a:prstGeom prst="rect">
            <a:avLst/>
          </a:prstGeom>
        </p:spPr>
      </p:pic>
      <p:cxnSp>
        <p:nvCxnSpPr>
          <p:cNvPr id="8" name="Straight Connector 7"/>
          <p:cNvCxnSpPr/>
          <p:nvPr/>
        </p:nvCxnSpPr>
        <p:spPr>
          <a:xfrm>
            <a:off x="245660" y="1279525"/>
            <a:ext cx="503602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5281684" y="1215190"/>
            <a:ext cx="124326" cy="1243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10530273" y="5880370"/>
            <a:ext cx="1301885" cy="606738"/>
            <a:chOff x="10717834" y="5953476"/>
            <a:chExt cx="1051094" cy="489858"/>
          </a:xfrm>
        </p:grpSpPr>
        <p:sp>
          <p:nvSpPr>
            <p:cNvPr id="14" name="Oval 13"/>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Slide Number Placeholder 4"/>
          <p:cNvSpPr>
            <a:spLocks noGrp="1"/>
          </p:cNvSpPr>
          <p:nvPr>
            <p:ph type="sldNum" sz="quarter" idx="12"/>
          </p:nvPr>
        </p:nvSpPr>
        <p:spPr>
          <a:xfrm>
            <a:off x="9088958" y="6261351"/>
            <a:ext cx="2743200" cy="365125"/>
          </a:xfrm>
        </p:spPr>
        <p:txBody>
          <a:bodyPr/>
          <a:lstStyle>
            <a:lvl1pPr>
              <a:defRPr>
                <a:solidFill>
                  <a:schemeClr val="bg1"/>
                </a:solidFill>
              </a:defRPr>
            </a:lvl1pPr>
          </a:lstStyle>
          <a:p>
            <a:fld id="{D8AD1322-8C57-468B-83EA-78284625AF84}" type="slidenum">
              <a:rPr lang="en-US" smtClean="0"/>
              <a:t>‹#›</a:t>
            </a:fld>
            <a:endParaRPr lang="en-US"/>
          </a:p>
        </p:txBody>
      </p:sp>
    </p:spTree>
    <p:extLst>
      <p:ext uri="{BB962C8B-B14F-4D97-AF65-F5344CB8AC3E}">
        <p14:creationId xmlns:p14="http://schemas.microsoft.com/office/powerpoint/2010/main" val="206252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09C4FE2-AE5C-415E-B144-E5678787832C}" type="datetimeFigureOut">
              <a:rPr lang="en-US" smtClean="0"/>
              <a:t>3/31/2021</a:t>
            </a:fld>
            <a:endParaRPr lang="en-US"/>
          </a:p>
        </p:txBody>
      </p:sp>
      <p:sp>
        <p:nvSpPr>
          <p:cNvPr id="3" name="Footer Placeholder 2"/>
          <p:cNvSpPr>
            <a:spLocks noGrp="1"/>
          </p:cNvSpPr>
          <p:nvPr>
            <p:ph type="ftr" sz="quarter" idx="11"/>
          </p:nvPr>
        </p:nvSpPr>
        <p:spPr/>
        <p:txBody>
          <a:bodyPr/>
          <a:lstStyle/>
          <a:p>
            <a:endParaRPr lang="en-US"/>
          </a:p>
        </p:txBody>
      </p:sp>
      <p:sp>
        <p:nvSpPr>
          <p:cNvPr id="5" name="Rectangle 4"/>
          <p:cNvSpPr/>
          <p:nvPr/>
        </p:nvSpPr>
        <p:spPr>
          <a:xfrm>
            <a:off x="245660" y="218364"/>
            <a:ext cx="11737074" cy="641444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8965566" y="6226649"/>
            <a:ext cx="3030816" cy="4230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8726100" y="6226115"/>
            <a:ext cx="143808" cy="423081"/>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5"/>
          <p:cNvSpPr txBox="1">
            <a:spLocks/>
          </p:cNvSpPr>
          <p:nvPr/>
        </p:nvSpPr>
        <p:spPr>
          <a:xfrm>
            <a:off x="8965566" y="514263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Segoe UI Semibold" panose="020B07020402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12568EF-7BAD-4945-B6F2-C41C476107F9}" type="slidenum">
              <a:rPr lang="en-US" smtClean="0"/>
              <a:pPr/>
              <a:t>‹#›</a:t>
            </a:fld>
            <a:endParaRPr lang="en-US" dirty="0"/>
          </a:p>
        </p:txBody>
      </p:sp>
      <p:grpSp>
        <p:nvGrpSpPr>
          <p:cNvPr id="9" name="Group 8"/>
          <p:cNvGrpSpPr/>
          <p:nvPr/>
        </p:nvGrpSpPr>
        <p:grpSpPr>
          <a:xfrm>
            <a:off x="10530273" y="5880370"/>
            <a:ext cx="1301885" cy="606738"/>
            <a:chOff x="10717834" y="5953476"/>
            <a:chExt cx="1051094" cy="489858"/>
          </a:xfrm>
        </p:grpSpPr>
        <p:sp>
          <p:nvSpPr>
            <p:cNvPr id="10" name="Oval 9"/>
            <p:cNvSpPr/>
            <p:nvPr/>
          </p:nvSpPr>
          <p:spPr>
            <a:xfrm>
              <a:off x="10917283" y="5953476"/>
              <a:ext cx="489858" cy="4898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10717834" y="6137674"/>
              <a:ext cx="247262" cy="247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11335295" y="6087370"/>
              <a:ext cx="192599" cy="1925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11482959" y="6098840"/>
              <a:ext cx="285969" cy="2859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10841465" y="6087370"/>
              <a:ext cx="100608" cy="10060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p:cNvSpPr>
            <a:spLocks noGrp="1"/>
          </p:cNvSpPr>
          <p:nvPr>
            <p:ph type="sldNum" sz="quarter" idx="12"/>
          </p:nvPr>
        </p:nvSpPr>
        <p:spPr>
          <a:xfrm>
            <a:off x="9088958" y="6261647"/>
            <a:ext cx="2743200" cy="365125"/>
          </a:xfrm>
        </p:spPr>
        <p:txBody>
          <a:bodyPr/>
          <a:lstStyle>
            <a:lvl1pPr>
              <a:defRPr>
                <a:solidFill>
                  <a:schemeClr val="bg1"/>
                </a:solidFill>
              </a:defRPr>
            </a:lvl1pPr>
          </a:lstStyle>
          <a:p>
            <a:fld id="{D8AD1322-8C57-468B-83EA-78284625AF84}" type="slidenum">
              <a:rPr lang="en-US" smtClean="0"/>
              <a:t>‹#›</a:t>
            </a:fld>
            <a:endParaRPr lang="en-US"/>
          </a:p>
        </p:txBody>
      </p:sp>
    </p:spTree>
    <p:extLst>
      <p:ext uri="{BB962C8B-B14F-4D97-AF65-F5344CB8AC3E}">
        <p14:creationId xmlns:p14="http://schemas.microsoft.com/office/powerpoint/2010/main" val="118429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09C4FE2-AE5C-415E-B144-E5678787832C}" type="datetimeFigureOut">
              <a:rPr lang="en-US" smtClean="0"/>
              <a:t>3/3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8AD1322-8C57-468B-83EA-78284625AF84}" type="slidenum">
              <a:rPr lang="en-US" smtClean="0"/>
              <a:t>‹#›</a:t>
            </a:fld>
            <a:endParaRPr lang="en-US"/>
          </a:p>
        </p:txBody>
      </p:sp>
    </p:spTree>
    <p:extLst>
      <p:ext uri="{BB962C8B-B14F-4D97-AF65-F5344CB8AC3E}">
        <p14:creationId xmlns:p14="http://schemas.microsoft.com/office/powerpoint/2010/main" val="2897903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09C4FE2-AE5C-415E-B144-E5678787832C}" type="datetimeFigureOut">
              <a:rPr lang="en-US" smtClean="0"/>
              <a:t>3/3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8AD1322-8C57-468B-83EA-78284625AF84}" type="slidenum">
              <a:rPr lang="en-US" smtClean="0"/>
              <a:t>‹#›</a:t>
            </a:fld>
            <a:endParaRPr lang="en-US"/>
          </a:p>
        </p:txBody>
      </p:sp>
    </p:spTree>
    <p:extLst>
      <p:ext uri="{BB962C8B-B14F-4D97-AF65-F5344CB8AC3E}">
        <p14:creationId xmlns:p14="http://schemas.microsoft.com/office/powerpoint/2010/main" val="3933848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AD1322-8C57-468B-83EA-78284625AF84}" type="slidenum">
              <a:rPr lang="en-US" smtClean="0"/>
              <a:t>‹#›</a:t>
            </a:fld>
            <a:endParaRPr lang="en-US"/>
          </a:p>
        </p:txBody>
      </p:sp>
    </p:spTree>
    <p:extLst>
      <p:ext uri="{BB962C8B-B14F-4D97-AF65-F5344CB8AC3E}">
        <p14:creationId xmlns:p14="http://schemas.microsoft.com/office/powerpoint/2010/main" val="861707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09C4FE2-AE5C-415E-B144-E5678787832C}" type="datetimeFigureOut">
              <a:rPr lang="en-US" smtClean="0"/>
              <a:t>3/3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AD1322-8C57-468B-83EA-78284625AF84}" type="slidenum">
              <a:rPr lang="en-US" smtClean="0"/>
              <a:t>‹#›</a:t>
            </a:fld>
            <a:endParaRPr lang="en-US"/>
          </a:p>
        </p:txBody>
      </p:sp>
    </p:spTree>
    <p:extLst>
      <p:ext uri="{BB962C8B-B14F-4D97-AF65-F5344CB8AC3E}">
        <p14:creationId xmlns:p14="http://schemas.microsoft.com/office/powerpoint/2010/main" val="2500472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65074289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295401"/>
            <a:ext cx="11264900" cy="5022623"/>
          </a:xfrm>
          <a:prstGeom prst="rect">
            <a:avLst/>
          </a:prstGeom>
        </p:spPr>
        <p:txBody>
          <a:bodyPr>
            <a:normAutofit/>
          </a:bodyPr>
          <a:lstStyle>
            <a:lvl1pPr>
              <a:defRPr sz="240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1pPr>
            <a:lvl2pPr>
              <a:defRPr sz="200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0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60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60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8352" y="584200"/>
            <a:ext cx="2642049" cy="510069"/>
          </a:xfrm>
          <a:prstGeom prst="rect">
            <a:avLst/>
          </a:prstGeom>
        </p:spPr>
      </p:pic>
      <p:cxnSp>
        <p:nvCxnSpPr>
          <p:cNvPr id="17" name="Straight Connector 16"/>
          <p:cNvCxnSpPr/>
          <p:nvPr/>
        </p:nvCxnSpPr>
        <p:spPr>
          <a:xfrm>
            <a:off x="0" y="990600"/>
            <a:ext cx="92456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6221282"/>
            <a:ext cx="1524000" cy="357319"/>
          </a:xfrm>
          <a:prstGeom prst="rect">
            <a:avLst/>
          </a:prstGeom>
        </p:spPr>
      </p:pic>
      <p:grpSp>
        <p:nvGrpSpPr>
          <p:cNvPr id="22" name="Group 21"/>
          <p:cNvGrpSpPr/>
          <p:nvPr/>
        </p:nvGrpSpPr>
        <p:grpSpPr>
          <a:xfrm flipH="1">
            <a:off x="0" y="6445079"/>
            <a:ext cx="12192000" cy="406400"/>
            <a:chOff x="0" y="4833809"/>
            <a:chExt cx="9144000" cy="304800"/>
          </a:xfrm>
        </p:grpSpPr>
        <p:sp>
          <p:nvSpPr>
            <p:cNvPr id="20" name="Rectangle 19"/>
            <p:cNvSpPr/>
            <p:nvPr/>
          </p:nvSpPr>
          <p:spPr>
            <a:xfrm>
              <a:off x="0" y="4986209"/>
              <a:ext cx="6477000" cy="1524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Rectangle 20"/>
            <p:cNvSpPr/>
            <p:nvPr/>
          </p:nvSpPr>
          <p:spPr>
            <a:xfrm>
              <a:off x="4876800" y="4833809"/>
              <a:ext cx="4267200" cy="304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spTree>
    <p:extLst>
      <p:ext uri="{BB962C8B-B14F-4D97-AF65-F5344CB8AC3E}">
        <p14:creationId xmlns:p14="http://schemas.microsoft.com/office/powerpoint/2010/main" val="375937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9_Title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6387" y="0"/>
            <a:ext cx="12208388" cy="6858000"/>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0" y="0"/>
            <a:ext cx="12191135" cy="6858000"/>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6274911" cy="1793090"/>
          </a:xfrm>
          <a:noFill/>
        </p:spPr>
        <p:txBody>
          <a:bodyPr lIns="146304" tIns="91440" rIns="146304" bIns="91440" anchor="t" anchorCtr="0"/>
          <a:lstStyle>
            <a:lvl1pPr>
              <a:defRPr sz="5294" spc="-98" baseline="0">
                <a:gradFill>
                  <a:gsLst>
                    <a:gs pos="89381">
                      <a:schemeClr val="tx1"/>
                    </a:gs>
                    <a:gs pos="64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69301" y="3878574"/>
            <a:ext cx="6274912" cy="1792326"/>
          </a:xfrm>
          <a:noFill/>
        </p:spPr>
        <p:txBody>
          <a:bodyPr lIns="164592" tIns="109728" rIns="164592" bIns="109728">
            <a:noAutofit/>
          </a:bodyPr>
          <a:lstStyle>
            <a:lvl1pPr marL="0" indent="0">
              <a:spcBef>
                <a:spcPts val="0"/>
              </a:spcBef>
              <a:buNone/>
              <a:defRPr sz="3137" spc="0" baseline="0">
                <a:gradFill>
                  <a:gsLst>
                    <a:gs pos="89381">
                      <a:schemeClr val="tx1"/>
                    </a:gs>
                    <a:gs pos="64000">
                      <a:schemeClr val="tx1"/>
                    </a:gs>
                  </a:gsLst>
                  <a:lin ang="5400000" scaled="0"/>
                </a:gradFill>
                <a:latin typeface="+mj-lt"/>
              </a:defRPr>
            </a:lvl1pPr>
          </a:lstStyle>
          <a:p>
            <a:pPr lvl="0"/>
            <a:r>
              <a:rPr lang="en-US"/>
              <a:t>for your hybrid environment</a:t>
            </a:r>
          </a:p>
        </p:txBody>
      </p:sp>
      <p:grpSp>
        <p:nvGrpSpPr>
          <p:cNvPr id="25" name="Group 24">
            <a:extLst>
              <a:ext uri="{FF2B5EF4-FFF2-40B4-BE49-F238E27FC236}">
                <a16:creationId xmlns:a16="http://schemas.microsoft.com/office/drawing/2014/main" id="{BA7CAD2D-A523-49D0-BFE5-36D87090CC80}"/>
              </a:ext>
            </a:extLst>
          </p:cNvPr>
          <p:cNvGrpSpPr>
            <a:grpSpLocks noChangeAspect="1"/>
          </p:cNvGrpSpPr>
          <p:nvPr userDrawn="1"/>
        </p:nvGrpSpPr>
        <p:grpSpPr bwMode="black">
          <a:xfrm>
            <a:off x="459102" y="470067"/>
            <a:ext cx="1419662" cy="304828"/>
            <a:chOff x="457200" y="1643393"/>
            <a:chExt cx="4492753" cy="964540"/>
          </a:xfrm>
        </p:grpSpPr>
        <p:pic>
          <p:nvPicPr>
            <p:cNvPr id="26" name="Picture 25">
              <a:extLst>
                <a:ext uri="{FF2B5EF4-FFF2-40B4-BE49-F238E27FC236}">
                  <a16:creationId xmlns:a16="http://schemas.microsoft.com/office/drawing/2014/main" id="{A9056999-B9F1-4B54-AC0B-2E30B71879D6}"/>
                </a:ext>
              </a:extLst>
            </p:cNvPr>
            <p:cNvPicPr>
              <a:picLocks noChangeAspect="1"/>
            </p:cNvPicPr>
            <p:nvPr/>
          </p:nvPicPr>
          <p:blipFill>
            <a:blip r:embed="rId3"/>
            <a:stretch>
              <a:fillRect/>
            </a:stretch>
          </p:blipFill>
          <p:spPr bwMode="black">
            <a:xfrm>
              <a:off x="457200" y="1643393"/>
              <a:ext cx="964540" cy="964540"/>
            </a:xfrm>
            <a:prstGeom prst="rect">
              <a:avLst/>
            </a:prstGeom>
          </p:spPr>
        </p:pic>
        <p:sp>
          <p:nvSpPr>
            <p:cNvPr id="27" name="Freeform 12">
              <a:extLst>
                <a:ext uri="{FF2B5EF4-FFF2-40B4-BE49-F238E27FC236}">
                  <a16:creationId xmlns:a16="http://schemas.microsoft.com/office/drawing/2014/main" id="{0D968956-170E-40B1-9729-5DF0A40E647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226660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317652152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55262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397819635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269058165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5962126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20063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58267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1919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1800748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3463396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06767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347811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7342825"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11045195"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69"/>
            <a:ext cx="253186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925194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823814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934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8365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73603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3436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049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538014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6367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7996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30864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82543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26823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4988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15135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566963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2710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91990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35464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17" name="TextBox 16">
            <a:extLst>
              <a:ext uri="{FF2B5EF4-FFF2-40B4-BE49-F238E27FC236}">
                <a16:creationId xmlns:a16="http://schemas.microsoft.com/office/drawing/2014/main" id="{2589C2E4-CE3E-472C-A0EE-EC3540422079}"/>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18" name="Text Placeholder 4">
            <a:extLst>
              <a:ext uri="{FF2B5EF4-FFF2-40B4-BE49-F238E27FC236}">
                <a16:creationId xmlns:a16="http://schemas.microsoft.com/office/drawing/2014/main" id="{CCCDE24C-597E-4EE9-A4BC-F1FF940CBE87}"/>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dirty="0"/>
              <a:t>&lt;theme word here&gt;</a:t>
            </a:r>
          </a:p>
        </p:txBody>
      </p:sp>
      <p:sp>
        <p:nvSpPr>
          <p:cNvPr id="19" name="Text Placeholder 4">
            <a:extLst>
              <a:ext uri="{FF2B5EF4-FFF2-40B4-BE49-F238E27FC236}">
                <a16:creationId xmlns:a16="http://schemas.microsoft.com/office/drawing/2014/main" id="{828EB695-08B2-4884-A095-850451DF0101}"/>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dirty="0"/>
              <a:t>&lt;theme word here&gt;</a:t>
            </a:r>
          </a:p>
        </p:txBody>
      </p:sp>
      <p:sp>
        <p:nvSpPr>
          <p:cNvPr id="20" name="TextBox 19">
            <a:extLst>
              <a:ext uri="{FF2B5EF4-FFF2-40B4-BE49-F238E27FC236}">
                <a16:creationId xmlns:a16="http://schemas.microsoft.com/office/drawing/2014/main" id="{175920F8-F6E2-4F83-9569-0CA1D278C9A6}"/>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21" name="Text Placeholder 4">
            <a:extLst>
              <a:ext uri="{FF2B5EF4-FFF2-40B4-BE49-F238E27FC236}">
                <a16:creationId xmlns:a16="http://schemas.microsoft.com/office/drawing/2014/main" id="{F54F2D01-271D-4ABB-99F8-988ACDEE6E79}"/>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dirty="0"/>
              <a:t>&lt;theme word here&gt;</a:t>
            </a:r>
          </a:p>
        </p:txBody>
      </p:sp>
      <p:sp>
        <p:nvSpPr>
          <p:cNvPr id="22" name="TextBox 21">
            <a:extLst>
              <a:ext uri="{FF2B5EF4-FFF2-40B4-BE49-F238E27FC236}">
                <a16:creationId xmlns:a16="http://schemas.microsoft.com/office/drawing/2014/main" id="{856F8591-1DBE-4565-AC6F-60CAAEBB8F46}"/>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keep transforming</a:t>
            </a:r>
          </a:p>
        </p:txBody>
      </p:sp>
      <p:sp>
        <p:nvSpPr>
          <p:cNvPr id="23" name="TextBox 22">
            <a:extLst>
              <a:ext uri="{FF2B5EF4-FFF2-40B4-BE49-F238E27FC236}">
                <a16:creationId xmlns:a16="http://schemas.microsoft.com/office/drawing/2014/main" id="{17D52EC8-9238-4F4A-BBBC-A016D11B5CF8}"/>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24" name="Text Placeholder 4">
            <a:extLst>
              <a:ext uri="{FF2B5EF4-FFF2-40B4-BE49-F238E27FC236}">
                <a16:creationId xmlns:a16="http://schemas.microsoft.com/office/drawing/2014/main" id="{1B3E63AD-42CA-445C-97F3-DDE05F705675}"/>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dirty="0"/>
              <a:t>&lt;theme word here&gt;</a:t>
            </a:r>
          </a:p>
        </p:txBody>
      </p:sp>
      <p:sp>
        <p:nvSpPr>
          <p:cNvPr id="25" name="TextBox 24">
            <a:extLst>
              <a:ext uri="{FF2B5EF4-FFF2-40B4-BE49-F238E27FC236}">
                <a16:creationId xmlns:a16="http://schemas.microsoft.com/office/drawing/2014/main" id="{274A6492-8AD7-4E81-8CF0-97F81C18F3A0}"/>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26" name="TextBox 25">
            <a:extLst>
              <a:ext uri="{FF2B5EF4-FFF2-40B4-BE49-F238E27FC236}">
                <a16:creationId xmlns:a16="http://schemas.microsoft.com/office/drawing/2014/main" id="{B748E7DD-ABE0-4EDF-8068-30292B1E3A26}"/>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grpSp>
        <p:nvGrpSpPr>
          <p:cNvPr id="27" name="Group 26">
            <a:extLst>
              <a:ext uri="{FF2B5EF4-FFF2-40B4-BE49-F238E27FC236}">
                <a16:creationId xmlns:a16="http://schemas.microsoft.com/office/drawing/2014/main" id="{123D1D8B-CF2F-4B87-A9D9-1E19A1F45651}"/>
              </a:ext>
            </a:extLst>
          </p:cNvPr>
          <p:cNvGrpSpPr/>
          <p:nvPr userDrawn="1"/>
        </p:nvGrpSpPr>
        <p:grpSpPr>
          <a:xfrm>
            <a:off x="7342825" y="5999452"/>
            <a:ext cx="4629739" cy="615609"/>
            <a:chOff x="274638" y="4554931"/>
            <a:chExt cx="4722575" cy="627864"/>
          </a:xfrm>
        </p:grpSpPr>
        <p:sp>
          <p:nvSpPr>
            <p:cNvPr id="28" name="TextBox 27">
              <a:extLst>
                <a:ext uri="{FF2B5EF4-FFF2-40B4-BE49-F238E27FC236}">
                  <a16:creationId xmlns:a16="http://schemas.microsoft.com/office/drawing/2014/main" id="{ACD72FDB-6EF8-4E3F-BF77-E09C21261007}"/>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Seattle, WA	Jan 29–Feb 2, 2018</a:t>
              </a:r>
            </a:p>
          </p:txBody>
        </p:sp>
        <p:cxnSp>
          <p:nvCxnSpPr>
            <p:cNvPr id="29" name="Straight Connector 28">
              <a:extLst>
                <a:ext uri="{FF2B5EF4-FFF2-40B4-BE49-F238E27FC236}">
                  <a16:creationId xmlns:a16="http://schemas.microsoft.com/office/drawing/2014/main" id="{E9ED71E6-D3EC-4091-BD44-FC68E08CA312}"/>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00947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554538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43653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7000769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6938110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4772773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2409279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6217800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58342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21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272929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31268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4166464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42877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1014940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114028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404120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1770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1788542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 (event nam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2053830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l="5" t="11255" r="14683" b="16717"/>
          <a:stretch/>
        </p:blipFill>
        <p:spPr>
          <a:xfrm>
            <a:off x="-1" y="0"/>
            <a:ext cx="12190269" cy="6857999"/>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a:t>Speaker name</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33544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3563157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pic>
        <p:nvPicPr>
          <p:cNvPr id="6" name="Picture 5"/>
          <p:cNvPicPr>
            <a:picLocks noChangeAspect="1"/>
          </p:cNvPicPr>
          <p:nvPr userDrawn="1"/>
        </p:nvPicPr>
        <p:blipFill rotWithShape="1">
          <a:blip r:embed="rId3"/>
          <a:srcRect l="37330" t="11255" r="14683" b="16717"/>
          <a:stretch/>
        </p:blipFill>
        <p:spPr>
          <a:xfrm>
            <a:off x="5333417" y="0"/>
            <a:ext cx="6856851" cy="6857999"/>
          </a:xfrm>
          <a:prstGeom prst="rect">
            <a:avLst/>
          </a:prstGeom>
        </p:spPr>
      </p:pic>
    </p:spTree>
    <p:extLst>
      <p:ext uri="{BB962C8B-B14F-4D97-AF65-F5344CB8AC3E}">
        <p14:creationId xmlns:p14="http://schemas.microsoft.com/office/powerpoint/2010/main" val="3764312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116935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738760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69303" y="1187644"/>
            <a:ext cx="11655078" cy="22632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076141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1"/>
                </a:solidFill>
                <a:latin typeface="+mn-lt"/>
              </a:defRPr>
            </a:lvl1pPr>
            <a:lvl2pPr marL="250553" indent="0">
              <a:buFont typeface="Wingdings" panose="05000000000000000000" pitchFamily="2" charset="2"/>
              <a:buNone/>
              <a:defRPr sz="2353" b="0">
                <a:solidFill>
                  <a:schemeClr val="tx1"/>
                </a:solidFill>
              </a:defRPr>
            </a:lvl2pPr>
            <a:lvl3pPr marL="441968" indent="0">
              <a:buFont typeface="Wingdings" panose="05000000000000000000" pitchFamily="2" charset="2"/>
              <a:buNone/>
              <a:tabLst/>
              <a:defRPr sz="2157" b="0">
                <a:solidFill>
                  <a:schemeClr val="tx1"/>
                </a:solidFill>
              </a:defRPr>
            </a:lvl3pPr>
            <a:lvl4pPr marL="639608" indent="0">
              <a:buFont typeface="Wingdings" panose="05000000000000000000" pitchFamily="2" charset="2"/>
              <a:buNone/>
              <a:defRPr sz="2157" b="0">
                <a:solidFill>
                  <a:schemeClr val="tx1"/>
                </a:solidFill>
              </a:defRPr>
            </a:lvl4pPr>
            <a:lvl5pPr marL="837250" indent="0">
              <a:buFont typeface="Wingdings" panose="05000000000000000000" pitchFamily="2" charset="2"/>
              <a:buNone/>
              <a:tabLst/>
              <a:defRPr sz="215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tx1"/>
                </a:solidFill>
                <a:latin typeface="+mn-lt"/>
                <a:ea typeface="+mn-ea"/>
                <a:cs typeface="+mn-cs"/>
              </a:defRPr>
            </a:lvl1pPr>
            <a:lvl2pPr marL="250553" indent="0">
              <a:buFont typeface="Arial" panose="020B0604020202020204" pitchFamily="34" charset="0"/>
              <a:buNone/>
              <a:defRPr lang="en-US" sz="2353" b="0" kern="1200" spc="0" baseline="0" dirty="0">
                <a:solidFill>
                  <a:schemeClr val="tx1"/>
                </a:solidFill>
                <a:latin typeface="+mn-lt"/>
                <a:ea typeface="+mn-ea"/>
                <a:cs typeface="+mn-cs"/>
              </a:defRPr>
            </a:lvl2pPr>
            <a:lvl3pPr marL="441968" indent="0">
              <a:buFont typeface="Arial" panose="020B0604020202020204" pitchFamily="34" charset="0"/>
              <a:buNone/>
              <a:tabLst/>
              <a:defRPr lang="en-US" sz="2157" b="0" kern="1200" spc="0" baseline="0" dirty="0">
                <a:solidFill>
                  <a:schemeClr val="tx1"/>
                </a:solidFill>
                <a:latin typeface="+mn-lt"/>
                <a:ea typeface="+mn-ea"/>
                <a:cs typeface="+mn-cs"/>
              </a:defRPr>
            </a:lvl3pPr>
            <a:lvl4pPr marL="639608" indent="0">
              <a:buFont typeface="Arial" panose="020B0604020202020204" pitchFamily="34" charset="0"/>
              <a:buNone/>
              <a:defRPr lang="en-US" sz="2157" b="0" kern="1200" spc="0" baseline="0" dirty="0">
                <a:solidFill>
                  <a:schemeClr val="tx1"/>
                </a:solidFill>
                <a:latin typeface="+mn-lt"/>
                <a:ea typeface="+mn-ea"/>
                <a:cs typeface="+mn-cs"/>
              </a:defRPr>
            </a:lvl4pPr>
            <a:lvl5pPr marL="837250" indent="0">
              <a:buFont typeface="Arial" panose="020B0604020202020204" pitchFamily="34" charset="0"/>
              <a:buNone/>
              <a:tabLst/>
              <a:defRPr lang="en-US" sz="2157" b="0" kern="1200" spc="0" baseline="0" dirty="0">
                <a:solidFill>
                  <a:schemeClr val="tx1"/>
                </a:soli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43103550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solidFill>
                  <a:schemeClr val="tx1"/>
                </a:solidFill>
                <a:latin typeface="+mn-lt"/>
              </a:defRPr>
            </a:lvl1pPr>
            <a:lvl2pPr marL="418625" indent="-168072">
              <a:buFont typeface="Wingdings" panose="05000000000000000000" pitchFamily="2" charset="2"/>
              <a:buChar char=""/>
              <a:defRPr sz="2353" b="0">
                <a:solidFill>
                  <a:schemeClr val="tx1"/>
                </a:solidFill>
              </a:defRPr>
            </a:lvl2pPr>
            <a:lvl3pPr marL="627160" indent="-185191">
              <a:buFont typeface="Wingdings" panose="05000000000000000000" pitchFamily="2" charset="2"/>
              <a:buChar char=""/>
              <a:tabLst/>
              <a:defRPr sz="2157" b="0">
                <a:solidFill>
                  <a:schemeClr val="tx1"/>
                </a:solidFill>
              </a:defRPr>
            </a:lvl3pPr>
            <a:lvl4pPr marL="812350" indent="-172742">
              <a:buFont typeface="Wingdings" panose="05000000000000000000" pitchFamily="2" charset="2"/>
              <a:buChar char=""/>
              <a:defRPr sz="2157" b="0">
                <a:solidFill>
                  <a:schemeClr val="tx1"/>
                </a:solidFill>
              </a:defRPr>
            </a:lvl4pPr>
            <a:lvl5pPr marL="1003766" indent="-166517">
              <a:buFont typeface="Wingdings" panose="05000000000000000000" pitchFamily="2" charset="2"/>
              <a:buChar char=""/>
              <a:tabLst/>
              <a:defRPr sz="215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solidFill>
                  <a:schemeClr val="tx1"/>
                </a:solidFill>
                <a:latin typeface="+mn-lt"/>
                <a:ea typeface="+mn-ea"/>
                <a:cs typeface="+mn-cs"/>
              </a:defRPr>
            </a:lvl1pPr>
            <a:lvl2pPr marL="586698" indent="-336145">
              <a:defRPr lang="en-US" sz="2353" b="0" kern="1200" spc="0" baseline="0" dirty="0">
                <a:solidFill>
                  <a:schemeClr val="tx1"/>
                </a:solidFill>
                <a:latin typeface="+mn-lt"/>
                <a:ea typeface="+mn-ea"/>
                <a:cs typeface="+mn-cs"/>
              </a:defRPr>
            </a:lvl2pPr>
            <a:lvl3pPr marL="778113" indent="-336145">
              <a:tabLst/>
              <a:defRPr lang="en-US" sz="2157" b="0" kern="1200" spc="0" baseline="0" dirty="0">
                <a:solidFill>
                  <a:schemeClr val="tx1"/>
                </a:solidFill>
                <a:latin typeface="+mn-lt"/>
                <a:ea typeface="+mn-ea"/>
                <a:cs typeface="+mn-cs"/>
              </a:defRPr>
            </a:lvl3pPr>
            <a:lvl4pPr marL="975753" indent="-336145">
              <a:defRPr lang="en-US" sz="2157" b="0" kern="1200" spc="0" baseline="0" dirty="0">
                <a:solidFill>
                  <a:schemeClr val="tx1"/>
                </a:solidFill>
                <a:latin typeface="+mn-lt"/>
                <a:ea typeface="+mn-ea"/>
                <a:cs typeface="+mn-cs"/>
              </a:defRPr>
            </a:lvl4pPr>
            <a:lvl5pPr marL="1173395" indent="-336145">
              <a:tabLst/>
              <a:defRPr lang="en-US" sz="2157" b="0" kern="1200" spc="0" baseline="0" dirty="0">
                <a:solidFill>
                  <a:schemeClr val="tx1"/>
                </a:soli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24935712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24098862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50043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621249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3867361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1"/>
                </a:solidFill>
              </a:defRPr>
            </a:lvl1pPr>
          </a:lstStyle>
          <a:p>
            <a:r>
              <a:rPr lang="en-US"/>
              <a:t>Section title</a:t>
            </a:r>
          </a:p>
        </p:txBody>
      </p:sp>
    </p:spTree>
    <p:extLst>
      <p:ext uri="{BB962C8B-B14F-4D97-AF65-F5344CB8AC3E}">
        <p14:creationId xmlns:p14="http://schemas.microsoft.com/office/powerpoint/2010/main" val="50754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4"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06652956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95782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666389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2409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098905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475390"/>
            <a:ext cx="1424426" cy="304828"/>
          </a:xfrm>
          <a:prstGeom prst="rect">
            <a:avLst/>
          </a:prstGeom>
        </p:spPr>
      </p:pic>
    </p:spTree>
    <p:extLst>
      <p:ext uri="{BB962C8B-B14F-4D97-AF65-F5344CB8AC3E}">
        <p14:creationId xmlns:p14="http://schemas.microsoft.com/office/powerpoint/2010/main" val="1378604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39881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Blank Slide (Title)">
    <p:spTree>
      <p:nvGrpSpPr>
        <p:cNvPr id="1" name=""/>
        <p:cNvGrpSpPr/>
        <p:nvPr/>
      </p:nvGrpSpPr>
      <p:grpSpPr>
        <a:xfrm>
          <a:off x="0" y="0"/>
          <a:ext cx="0" cy="0"/>
          <a:chOff x="0" y="0"/>
          <a:chExt cx="0" cy="0"/>
        </a:xfrm>
      </p:grpSpPr>
      <p:sp>
        <p:nvSpPr>
          <p:cNvPr id="9" name="Title 1"/>
          <p:cNvSpPr txBox="1">
            <a:spLocks/>
          </p:cNvSpPr>
          <p:nvPr userDrawn="1"/>
        </p:nvSpPr>
        <p:spPr>
          <a:xfrm>
            <a:off x="0" y="6733312"/>
            <a:ext cx="12192000" cy="124691"/>
          </a:xfrm>
          <a:prstGeom prst="rect">
            <a:avLst/>
          </a:prstGeom>
          <a:solidFill>
            <a:schemeClr val="tx1">
              <a:lumMod val="75000"/>
              <a:lumOff val="25000"/>
            </a:schemeClr>
          </a:solidFill>
        </p:spPr>
        <p:txBody>
          <a:bodyPr vert="horz" lIns="62318" tIns="31159" rIns="62318" bIns="31159" rtlCol="0" anchor="ctr">
            <a:normAutofit fontScale="25000" lnSpcReduction="20000"/>
          </a:bodyPr>
          <a:lstStyle>
            <a:lvl1pPr algn="l" defTabSz="1341150" rtl="0" eaLnBrk="1" latinLnBrk="0" hangingPunct="1">
              <a:lnSpc>
                <a:spcPct val="90000"/>
              </a:lnSpc>
              <a:spcBef>
                <a:spcPct val="0"/>
              </a:spcBef>
              <a:buNone/>
              <a:defRPr sz="6453" kern="1200">
                <a:solidFill>
                  <a:schemeClr val="tx1"/>
                </a:solidFill>
                <a:latin typeface="+mj-lt"/>
                <a:ea typeface="+mj-ea"/>
                <a:cs typeface="+mj-cs"/>
              </a:defRPr>
            </a:lvl1pPr>
          </a:lstStyle>
          <a:p>
            <a:endParaRPr lang="en-US" sz="1909">
              <a:solidFill>
                <a:schemeClr val="bg1"/>
              </a:solidFill>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a:xfrm>
            <a:off x="0" y="1"/>
            <a:ext cx="10399059" cy="498764"/>
          </a:xfrm>
          <a:solidFill>
            <a:schemeClr val="tx1">
              <a:lumMod val="75000"/>
              <a:lumOff val="25000"/>
            </a:schemeClr>
          </a:solidFill>
        </p:spPr>
        <p:txBody>
          <a:bodyPr>
            <a:normAutofit/>
          </a:bodyPr>
          <a:lstStyle>
            <a:lvl1pPr>
              <a:defRPr sz="1909">
                <a:solidFill>
                  <a:schemeClr val="bg1"/>
                </a:solidFill>
              </a:defRPr>
            </a:lvl1pPr>
          </a:lstStyle>
          <a:p>
            <a:r>
              <a:rPr lang="en-US" altLang="zh-CN"/>
              <a:t>Click to edit Master title style</a:t>
            </a:r>
            <a:endParaRPr lang="en-US"/>
          </a:p>
        </p:txBody>
      </p:sp>
      <p:sp>
        <p:nvSpPr>
          <p:cNvPr id="5" name="Footer Placeholder 4"/>
          <p:cNvSpPr>
            <a:spLocks noGrp="1"/>
          </p:cNvSpPr>
          <p:nvPr>
            <p:ph type="ftr" sz="quarter" idx="11"/>
          </p:nvPr>
        </p:nvSpPr>
        <p:spPr>
          <a:xfrm>
            <a:off x="4" y="6730350"/>
            <a:ext cx="2804965" cy="124691"/>
          </a:xfrm>
          <a:prstGeom prst="rect">
            <a:avLst/>
          </a:prstGeom>
        </p:spPr>
        <p:txBody>
          <a:bodyPr/>
          <a:lstStyle>
            <a:lvl1pPr>
              <a:defRPr sz="750">
                <a:solidFill>
                  <a:schemeClr val="bg1"/>
                </a:solidFill>
              </a:defRPr>
            </a:lvl1pPr>
          </a:lstStyle>
          <a:p>
            <a:r>
              <a:rPr lang="en-US"/>
              <a:t>MICROSOFT CONFIDENTIAL | INTERNAL USE ONLY</a:t>
            </a:r>
          </a:p>
        </p:txBody>
      </p:sp>
      <p:sp>
        <p:nvSpPr>
          <p:cNvPr id="6" name="Slide Number Placeholder 5"/>
          <p:cNvSpPr>
            <a:spLocks noGrp="1"/>
          </p:cNvSpPr>
          <p:nvPr>
            <p:ph type="sldNum" sz="quarter" idx="12"/>
          </p:nvPr>
        </p:nvSpPr>
        <p:spPr>
          <a:xfrm>
            <a:off x="11403106" y="6730350"/>
            <a:ext cx="788894" cy="124691"/>
          </a:xfrm>
          <a:prstGeom prst="rect">
            <a:avLst/>
          </a:prstGeom>
        </p:spPr>
        <p:txBody>
          <a:bodyPr/>
          <a:lstStyle>
            <a:lvl1pPr>
              <a:defRPr sz="750">
                <a:solidFill>
                  <a:schemeClr val="bg1"/>
                </a:solidFill>
              </a:defRPr>
            </a:lvl1pPr>
          </a:lstStyle>
          <a:p>
            <a:fld id="{E501BD5D-2F98-4DB4-B4DD-6E8D2B30FC11}" type="slidenum">
              <a:rPr lang="en-US" smtClean="0"/>
              <a:pPr/>
              <a:t>‹#›</a:t>
            </a:fld>
            <a:endParaRPr lang="en-US"/>
          </a:p>
        </p:txBody>
      </p:sp>
      <p:sp>
        <p:nvSpPr>
          <p:cNvPr id="13" name="Text Placeholder 7"/>
          <p:cNvSpPr>
            <a:spLocks noGrp="1"/>
          </p:cNvSpPr>
          <p:nvPr>
            <p:ph type="body" sz="quarter" idx="13" hasCustomPrompt="1"/>
          </p:nvPr>
        </p:nvSpPr>
        <p:spPr>
          <a:xfrm>
            <a:off x="10399059" y="0"/>
            <a:ext cx="1792940" cy="498764"/>
          </a:xfrm>
          <a:solidFill>
            <a:schemeClr val="bg2"/>
          </a:solidFill>
        </p:spPr>
        <p:txBody>
          <a:bodyPr anchor="ctr">
            <a:noAutofit/>
          </a:bodyPr>
          <a:lstStyle>
            <a:lvl1pPr marL="0" indent="0" algn="ctr">
              <a:buNone/>
              <a:defRPr sz="1224">
                <a:solidFill>
                  <a:schemeClr val="bg1"/>
                </a:solidFill>
              </a:defRPr>
            </a:lvl1pPr>
            <a:lvl2pPr marL="456934" indent="0">
              <a:buNone/>
              <a:defRPr/>
            </a:lvl2pPr>
            <a:lvl3pPr marL="913868" indent="0">
              <a:buNone/>
              <a:defRPr/>
            </a:lvl3pPr>
            <a:lvl4pPr marL="1370803" indent="0">
              <a:buNone/>
              <a:defRPr/>
            </a:lvl4pPr>
            <a:lvl5pPr marL="1827740" indent="0">
              <a:buNone/>
              <a:defRPr/>
            </a:lvl5pPr>
          </a:lstStyle>
          <a:p>
            <a:pPr lvl="0"/>
            <a:r>
              <a:rPr lang="en-US"/>
              <a:t>Account Name</a:t>
            </a:r>
          </a:p>
        </p:txBody>
      </p:sp>
      <p:sp>
        <p:nvSpPr>
          <p:cNvPr id="14" name="Text Placeholder 7"/>
          <p:cNvSpPr>
            <a:spLocks noGrp="1"/>
          </p:cNvSpPr>
          <p:nvPr>
            <p:ph type="body" sz="quarter" idx="14" hasCustomPrompt="1"/>
          </p:nvPr>
        </p:nvSpPr>
        <p:spPr>
          <a:xfrm>
            <a:off x="8606119" y="0"/>
            <a:ext cx="1792940" cy="498764"/>
          </a:xfrm>
          <a:noFill/>
        </p:spPr>
        <p:txBody>
          <a:bodyPr anchor="ctr">
            <a:noAutofit/>
          </a:bodyPr>
          <a:lstStyle>
            <a:lvl1pPr marL="0" indent="0" algn="ctr">
              <a:buNone/>
              <a:defRPr sz="1224">
                <a:solidFill>
                  <a:schemeClr val="bg1"/>
                </a:solidFill>
              </a:defRPr>
            </a:lvl1pPr>
            <a:lvl2pPr marL="456934" indent="0">
              <a:buNone/>
              <a:defRPr/>
            </a:lvl2pPr>
            <a:lvl3pPr marL="913868" indent="0">
              <a:buNone/>
              <a:defRPr/>
            </a:lvl3pPr>
            <a:lvl4pPr marL="1370803" indent="0">
              <a:buNone/>
              <a:defRPr/>
            </a:lvl4pPr>
            <a:lvl5pPr marL="1827740" indent="0">
              <a:buNone/>
              <a:defRPr/>
            </a:lvl5pPr>
          </a:lstStyle>
          <a:p>
            <a:pPr lvl="0"/>
            <a:r>
              <a:rPr lang="en-US"/>
              <a:t>Update Frequency</a:t>
            </a:r>
          </a:p>
        </p:txBody>
      </p:sp>
      <p:sp>
        <p:nvSpPr>
          <p:cNvPr id="8" name="TextBox 7">
            <a:extLst>
              <a:ext uri="{FF2B5EF4-FFF2-40B4-BE49-F238E27FC236}">
                <a16:creationId xmlns:a16="http://schemas.microsoft.com/office/drawing/2014/main" id="{9AC7C599-31EE-4E68-967C-B24BF6295FD3}"/>
              </a:ext>
            </a:extLst>
          </p:cNvPr>
          <p:cNvSpPr txBox="1"/>
          <p:nvPr userDrawn="1"/>
        </p:nvSpPr>
        <p:spPr>
          <a:xfrm>
            <a:off x="8030626" y="-67377"/>
            <a:ext cx="4169155" cy="544765"/>
          </a:xfrm>
          <a:prstGeom prst="rect">
            <a:avLst/>
          </a:prstGeom>
          <a:noFill/>
        </p:spPr>
        <p:txBody>
          <a:bodyPr wrap="none" lIns="182880" tIns="146304" rIns="182880" bIns="146304" rtlCol="0">
            <a:spAutoFit/>
          </a:bodyPr>
          <a:lstStyle/>
          <a:p>
            <a:pPr>
              <a:lnSpc>
                <a:spcPct val="90000"/>
              </a:lnSpc>
              <a:spcAft>
                <a:spcPts val="600"/>
              </a:spcAft>
            </a:pPr>
            <a:r>
              <a:rPr lang="en-US" sz="1800" b="1" i="1" kern="1200">
                <a:solidFill>
                  <a:srgbClr val="FF0000"/>
                </a:solidFill>
                <a:effectLst/>
                <a:latin typeface="+mn-lt"/>
                <a:ea typeface="+mn-ea"/>
                <a:cs typeface="+mn-cs"/>
              </a:rPr>
              <a:t>Microsoft Confidential, FTE access only </a:t>
            </a:r>
            <a:endParaRPr lang="en-US" sz="2400">
              <a:solidFill>
                <a:srgbClr val="FF0000"/>
              </a:solidFill>
            </a:endParaRPr>
          </a:p>
        </p:txBody>
      </p:sp>
    </p:spTree>
    <p:extLst>
      <p:ext uri="{BB962C8B-B14F-4D97-AF65-F5344CB8AC3E}">
        <p14:creationId xmlns:p14="http://schemas.microsoft.com/office/powerpoint/2010/main" val="162368351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Blank Slide (Title)">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0399059" cy="498764"/>
          </a:xfrm>
          <a:solidFill>
            <a:schemeClr val="tx1">
              <a:lumMod val="75000"/>
              <a:lumOff val="25000"/>
            </a:schemeClr>
          </a:solidFill>
        </p:spPr>
        <p:txBody>
          <a:bodyPr>
            <a:normAutofit/>
          </a:bodyPr>
          <a:lstStyle>
            <a:lvl1pPr>
              <a:defRPr sz="1909">
                <a:solidFill>
                  <a:schemeClr val="bg1"/>
                </a:solidFill>
              </a:defRPr>
            </a:lvl1pPr>
          </a:lstStyle>
          <a:p>
            <a:r>
              <a:rPr lang="en-US" altLang="zh-CN"/>
              <a:t>Click to edit Master title style</a:t>
            </a:r>
            <a:endParaRPr lang="en-US"/>
          </a:p>
        </p:txBody>
      </p:sp>
      <p:sp>
        <p:nvSpPr>
          <p:cNvPr id="5" name="Footer Placeholder 4"/>
          <p:cNvSpPr>
            <a:spLocks noGrp="1"/>
          </p:cNvSpPr>
          <p:nvPr>
            <p:ph type="ftr" sz="quarter" idx="11"/>
          </p:nvPr>
        </p:nvSpPr>
        <p:spPr>
          <a:xfrm>
            <a:off x="3" y="6730349"/>
            <a:ext cx="2804965" cy="124691"/>
          </a:xfrm>
          <a:prstGeom prst="rect">
            <a:avLst/>
          </a:prstGeom>
        </p:spPr>
        <p:txBody>
          <a:bodyPr/>
          <a:lstStyle>
            <a:lvl1pPr>
              <a:defRPr sz="75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Calibri" panose="020F0502020204030204"/>
                <a:ea typeface="+mn-ea"/>
                <a:cs typeface="+mn-cs"/>
              </a:rPr>
              <a:t>MICROSOFT CONFIDENTIAL | INTERNAL USE ONLY</a:t>
            </a:r>
          </a:p>
        </p:txBody>
      </p:sp>
      <p:sp>
        <p:nvSpPr>
          <p:cNvPr id="6" name="Slide Number Placeholder 5"/>
          <p:cNvSpPr>
            <a:spLocks noGrp="1"/>
          </p:cNvSpPr>
          <p:nvPr>
            <p:ph type="sldNum" sz="quarter" idx="12"/>
          </p:nvPr>
        </p:nvSpPr>
        <p:spPr>
          <a:xfrm>
            <a:off x="11403106" y="6730349"/>
            <a:ext cx="788894" cy="124691"/>
          </a:xfrm>
          <a:prstGeom prst="rect">
            <a:avLst/>
          </a:prstGeom>
        </p:spPr>
        <p:txBody>
          <a:bodyPr/>
          <a:lstStyle>
            <a:lvl1pPr>
              <a:defRPr sz="75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501BD5D-2F98-4DB4-B4DD-6E8D2B30FC11}" type="slidenum">
              <a:rPr kumimoji="0" lang="en-US" sz="75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 Placeholder 7"/>
          <p:cNvSpPr>
            <a:spLocks noGrp="1"/>
          </p:cNvSpPr>
          <p:nvPr>
            <p:ph type="body" sz="quarter" idx="13" hasCustomPrompt="1"/>
          </p:nvPr>
        </p:nvSpPr>
        <p:spPr>
          <a:xfrm>
            <a:off x="10399059" y="0"/>
            <a:ext cx="1792940" cy="498764"/>
          </a:xfrm>
          <a:solidFill>
            <a:schemeClr val="bg2"/>
          </a:solidFill>
        </p:spPr>
        <p:txBody>
          <a:bodyPr anchor="ctr">
            <a:noAutofit/>
          </a:bodyPr>
          <a:lstStyle>
            <a:lvl1pPr marL="0" indent="0" algn="ctr">
              <a:buNone/>
              <a:defRPr sz="1225">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Account Name</a:t>
            </a:r>
          </a:p>
        </p:txBody>
      </p:sp>
      <p:sp>
        <p:nvSpPr>
          <p:cNvPr id="14" name="Text Placeholder 7"/>
          <p:cNvSpPr>
            <a:spLocks noGrp="1"/>
          </p:cNvSpPr>
          <p:nvPr>
            <p:ph type="body" sz="quarter" idx="14" hasCustomPrompt="1"/>
          </p:nvPr>
        </p:nvSpPr>
        <p:spPr>
          <a:xfrm>
            <a:off x="8606119" y="0"/>
            <a:ext cx="1792940" cy="498764"/>
          </a:xfrm>
          <a:noFill/>
        </p:spPr>
        <p:txBody>
          <a:bodyPr anchor="ctr">
            <a:noAutofit/>
          </a:bodyPr>
          <a:lstStyle>
            <a:lvl1pPr marL="0" indent="0" algn="ctr">
              <a:buNone/>
              <a:defRPr sz="1225">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Update Frequency</a:t>
            </a:r>
          </a:p>
        </p:txBody>
      </p:sp>
      <p:sp>
        <p:nvSpPr>
          <p:cNvPr id="7" name="TextBox 6">
            <a:extLst>
              <a:ext uri="{FF2B5EF4-FFF2-40B4-BE49-F238E27FC236}">
                <a16:creationId xmlns:a16="http://schemas.microsoft.com/office/drawing/2014/main" id="{FC58165A-E7A1-48AA-8268-F76767920E14}"/>
              </a:ext>
            </a:extLst>
          </p:cNvPr>
          <p:cNvSpPr txBox="1"/>
          <p:nvPr userDrawn="1"/>
        </p:nvSpPr>
        <p:spPr>
          <a:xfrm>
            <a:off x="8030626" y="-105877"/>
            <a:ext cx="4169155" cy="544765"/>
          </a:xfrm>
          <a:prstGeom prst="rect">
            <a:avLst/>
          </a:prstGeom>
          <a:noFill/>
        </p:spPr>
        <p:txBody>
          <a:bodyPr wrap="none" lIns="182880" tIns="146304" rIns="182880" bIns="146304" rtlCol="0">
            <a:spAutoFit/>
          </a:bodyPr>
          <a:lstStyle/>
          <a:p>
            <a:pPr>
              <a:lnSpc>
                <a:spcPct val="90000"/>
              </a:lnSpc>
              <a:spcAft>
                <a:spcPts val="600"/>
              </a:spcAft>
            </a:pPr>
            <a:r>
              <a:rPr lang="en-US" sz="1800" b="1" i="1" kern="1200">
                <a:solidFill>
                  <a:srgbClr val="FF0000"/>
                </a:solidFill>
                <a:effectLst/>
                <a:latin typeface="+mn-lt"/>
                <a:ea typeface="+mn-ea"/>
                <a:cs typeface="+mn-cs"/>
              </a:rPr>
              <a:t>Microsoft Confidential, FTE access only </a:t>
            </a:r>
            <a:endParaRPr lang="en-US" sz="2400">
              <a:solidFill>
                <a:srgbClr val="FF0000"/>
              </a:solidFill>
            </a:endParaRPr>
          </a:p>
        </p:txBody>
      </p:sp>
    </p:spTree>
    <p:extLst>
      <p:ext uri="{BB962C8B-B14F-4D97-AF65-F5344CB8AC3E}">
        <p14:creationId xmlns:p14="http://schemas.microsoft.com/office/powerpoint/2010/main" val="15821071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3_Blank Slide (Title)">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0399059" cy="716435"/>
          </a:xfrm>
          <a:solidFill>
            <a:schemeClr val="tx1">
              <a:lumMod val="65000"/>
              <a:lumOff val="35000"/>
            </a:schemeClr>
          </a:solidFill>
        </p:spPr>
        <p:txBody>
          <a:bodyPr>
            <a:normAutofit/>
          </a:bodyPr>
          <a:lstStyle>
            <a:lvl1pPr>
              <a:defRPr sz="2800">
                <a:solidFill>
                  <a:schemeClr val="bg1"/>
                </a:solidFill>
              </a:defRPr>
            </a:lvl1pPr>
          </a:lstStyle>
          <a:p>
            <a:r>
              <a:rPr lang="en-US" altLang="zh-CN"/>
              <a:t>Click to edit Master title style</a:t>
            </a:r>
            <a:endParaRPr lang="en-US"/>
          </a:p>
        </p:txBody>
      </p:sp>
      <p:sp>
        <p:nvSpPr>
          <p:cNvPr id="5" name="Footer Placeholder 4"/>
          <p:cNvSpPr>
            <a:spLocks noGrp="1"/>
          </p:cNvSpPr>
          <p:nvPr>
            <p:ph type="ftr" sz="quarter" idx="11"/>
          </p:nvPr>
        </p:nvSpPr>
        <p:spPr>
          <a:xfrm>
            <a:off x="3" y="6730349"/>
            <a:ext cx="2804965" cy="124691"/>
          </a:xfrm>
          <a:prstGeom prst="rect">
            <a:avLst/>
          </a:prstGeom>
        </p:spPr>
        <p:txBody>
          <a:bodyPr/>
          <a:lstStyle>
            <a:lvl1pPr>
              <a:defRPr sz="750">
                <a:solidFill>
                  <a:schemeClr val="bg1"/>
                </a:solidFill>
              </a:defRPr>
            </a:lvl1pPr>
          </a:lstStyle>
          <a:p>
            <a:r>
              <a:rPr lang="en-US"/>
              <a:t>MICROSOFT CONFIDENTIAL | INTERNAL USE ONLY</a:t>
            </a:r>
          </a:p>
        </p:txBody>
      </p:sp>
      <p:sp>
        <p:nvSpPr>
          <p:cNvPr id="6" name="Slide Number Placeholder 5"/>
          <p:cNvSpPr>
            <a:spLocks noGrp="1"/>
          </p:cNvSpPr>
          <p:nvPr>
            <p:ph type="sldNum" sz="quarter" idx="12"/>
          </p:nvPr>
        </p:nvSpPr>
        <p:spPr>
          <a:xfrm>
            <a:off x="11403106" y="6730349"/>
            <a:ext cx="788894" cy="124691"/>
          </a:xfrm>
          <a:prstGeom prst="rect">
            <a:avLst/>
          </a:prstGeom>
        </p:spPr>
        <p:txBody>
          <a:bodyPr/>
          <a:lstStyle>
            <a:lvl1pPr>
              <a:defRPr sz="750">
                <a:solidFill>
                  <a:schemeClr val="bg1"/>
                </a:solidFill>
              </a:defRPr>
            </a:lvl1pPr>
          </a:lstStyle>
          <a:p>
            <a:fld id="{E501BD5D-2F98-4DB4-B4DD-6E8D2B30FC11}" type="slidenum">
              <a:rPr lang="en-US" smtClean="0"/>
              <a:pPr/>
              <a:t>‹#›</a:t>
            </a:fld>
            <a:endParaRPr lang="en-US"/>
          </a:p>
        </p:txBody>
      </p:sp>
      <p:sp>
        <p:nvSpPr>
          <p:cNvPr id="13" name="Text Placeholder 7"/>
          <p:cNvSpPr>
            <a:spLocks noGrp="1"/>
          </p:cNvSpPr>
          <p:nvPr>
            <p:ph type="body" sz="quarter" idx="13" hasCustomPrompt="1"/>
          </p:nvPr>
        </p:nvSpPr>
        <p:spPr>
          <a:xfrm>
            <a:off x="10399059" y="-1"/>
            <a:ext cx="1792940" cy="716437"/>
          </a:xfrm>
          <a:solidFill>
            <a:schemeClr val="bg2"/>
          </a:solidFill>
        </p:spPr>
        <p:txBody>
          <a:bodyPr anchor="ctr">
            <a:noAutofit/>
          </a:bodyPr>
          <a:lstStyle>
            <a:lvl1pPr marL="0" indent="0" algn="ctr">
              <a:buNone/>
              <a:defRPr sz="1600" b="1">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Responsible</a:t>
            </a:r>
          </a:p>
        </p:txBody>
      </p:sp>
      <p:sp>
        <p:nvSpPr>
          <p:cNvPr id="7" name="TextBox 6">
            <a:extLst>
              <a:ext uri="{FF2B5EF4-FFF2-40B4-BE49-F238E27FC236}">
                <a16:creationId xmlns:a16="http://schemas.microsoft.com/office/drawing/2014/main" id="{FCBAFC33-9425-4DDB-92E2-F58480299608}"/>
              </a:ext>
            </a:extLst>
          </p:cNvPr>
          <p:cNvSpPr txBox="1"/>
          <p:nvPr userDrawn="1"/>
        </p:nvSpPr>
        <p:spPr>
          <a:xfrm>
            <a:off x="8030626" y="-105877"/>
            <a:ext cx="4169155" cy="544765"/>
          </a:xfrm>
          <a:prstGeom prst="rect">
            <a:avLst/>
          </a:prstGeom>
          <a:noFill/>
        </p:spPr>
        <p:txBody>
          <a:bodyPr wrap="none" lIns="182880" tIns="146304" rIns="182880" bIns="146304" rtlCol="0">
            <a:spAutoFit/>
          </a:bodyPr>
          <a:lstStyle/>
          <a:p>
            <a:pPr>
              <a:lnSpc>
                <a:spcPct val="90000"/>
              </a:lnSpc>
              <a:spcAft>
                <a:spcPts val="600"/>
              </a:spcAft>
            </a:pPr>
            <a:r>
              <a:rPr lang="en-US" sz="1800" b="1" i="1" kern="1200">
                <a:solidFill>
                  <a:srgbClr val="FF0000"/>
                </a:solidFill>
                <a:effectLst/>
                <a:latin typeface="+mn-lt"/>
                <a:ea typeface="+mn-ea"/>
                <a:cs typeface="+mn-cs"/>
              </a:rPr>
              <a:t>Microsoft Confidential, FTE access only </a:t>
            </a:r>
            <a:endParaRPr lang="en-US" sz="2400">
              <a:solidFill>
                <a:srgbClr val="FF0000"/>
              </a:solidFill>
            </a:endParaRPr>
          </a:p>
        </p:txBody>
      </p:sp>
    </p:spTree>
    <p:extLst>
      <p:ext uri="{BB962C8B-B14F-4D97-AF65-F5344CB8AC3E}">
        <p14:creationId xmlns:p14="http://schemas.microsoft.com/office/powerpoint/2010/main" val="2768794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4_Blank Slide (Title)">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0399059" cy="716435"/>
          </a:xfrm>
          <a:solidFill>
            <a:schemeClr val="tx1">
              <a:lumMod val="65000"/>
              <a:lumOff val="35000"/>
            </a:schemeClr>
          </a:solidFill>
        </p:spPr>
        <p:txBody>
          <a:bodyPr>
            <a:normAutofit/>
          </a:bodyPr>
          <a:lstStyle>
            <a:lvl1pPr>
              <a:defRPr sz="2800">
                <a:solidFill>
                  <a:schemeClr val="bg1"/>
                </a:solidFill>
              </a:defRPr>
            </a:lvl1pPr>
          </a:lstStyle>
          <a:p>
            <a:r>
              <a:rPr lang="en-US" altLang="zh-CN"/>
              <a:t>Click to edit Master title style</a:t>
            </a:r>
            <a:endParaRPr lang="en-US"/>
          </a:p>
        </p:txBody>
      </p:sp>
      <p:sp>
        <p:nvSpPr>
          <p:cNvPr id="5" name="Footer Placeholder 4"/>
          <p:cNvSpPr>
            <a:spLocks noGrp="1"/>
          </p:cNvSpPr>
          <p:nvPr>
            <p:ph type="ftr" sz="quarter" idx="11"/>
          </p:nvPr>
        </p:nvSpPr>
        <p:spPr>
          <a:xfrm>
            <a:off x="3" y="6730349"/>
            <a:ext cx="2804965" cy="124691"/>
          </a:xfrm>
          <a:prstGeom prst="rect">
            <a:avLst/>
          </a:prstGeom>
        </p:spPr>
        <p:txBody>
          <a:bodyPr/>
          <a:lstStyle>
            <a:lvl1pPr>
              <a:defRPr sz="750">
                <a:solidFill>
                  <a:schemeClr val="bg1"/>
                </a:solidFill>
              </a:defRPr>
            </a:lvl1pPr>
          </a:lstStyle>
          <a:p>
            <a:r>
              <a:rPr lang="en-US"/>
              <a:t>MICROSOFT CONFIDENTIAL | INTERNAL USE ONLY</a:t>
            </a:r>
          </a:p>
        </p:txBody>
      </p:sp>
      <p:sp>
        <p:nvSpPr>
          <p:cNvPr id="6" name="Slide Number Placeholder 5"/>
          <p:cNvSpPr>
            <a:spLocks noGrp="1"/>
          </p:cNvSpPr>
          <p:nvPr>
            <p:ph type="sldNum" sz="quarter" idx="12"/>
          </p:nvPr>
        </p:nvSpPr>
        <p:spPr>
          <a:xfrm>
            <a:off x="11403106" y="6730349"/>
            <a:ext cx="788894" cy="124691"/>
          </a:xfrm>
          <a:prstGeom prst="rect">
            <a:avLst/>
          </a:prstGeom>
        </p:spPr>
        <p:txBody>
          <a:bodyPr/>
          <a:lstStyle>
            <a:lvl1pPr>
              <a:defRPr sz="750">
                <a:solidFill>
                  <a:schemeClr val="bg1"/>
                </a:solidFill>
              </a:defRPr>
            </a:lvl1pPr>
          </a:lstStyle>
          <a:p>
            <a:fld id="{E501BD5D-2F98-4DB4-B4DD-6E8D2B30FC11}" type="slidenum">
              <a:rPr lang="en-US" smtClean="0"/>
              <a:pPr/>
              <a:t>‹#›</a:t>
            </a:fld>
            <a:endParaRPr lang="en-US"/>
          </a:p>
        </p:txBody>
      </p:sp>
      <p:sp>
        <p:nvSpPr>
          <p:cNvPr id="13" name="Text Placeholder 7"/>
          <p:cNvSpPr>
            <a:spLocks noGrp="1"/>
          </p:cNvSpPr>
          <p:nvPr>
            <p:ph type="body" sz="quarter" idx="13" hasCustomPrompt="1"/>
          </p:nvPr>
        </p:nvSpPr>
        <p:spPr>
          <a:xfrm>
            <a:off x="10399059" y="-1"/>
            <a:ext cx="1792940" cy="716437"/>
          </a:xfrm>
          <a:solidFill>
            <a:schemeClr val="bg2"/>
          </a:solidFill>
        </p:spPr>
        <p:txBody>
          <a:bodyPr anchor="ctr">
            <a:noAutofit/>
          </a:bodyPr>
          <a:lstStyle>
            <a:lvl1pPr marL="0" indent="0" algn="ctr">
              <a:buNone/>
              <a:defRPr sz="1600" b="1">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Responsible</a:t>
            </a:r>
          </a:p>
        </p:txBody>
      </p:sp>
    </p:spTree>
    <p:extLst>
      <p:ext uri="{BB962C8B-B14F-4D97-AF65-F5344CB8AC3E}">
        <p14:creationId xmlns:p14="http://schemas.microsoft.com/office/powerpoint/2010/main" val="207472035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5_Blank Slide (Title)">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0399059" cy="498764"/>
          </a:xfrm>
          <a:solidFill>
            <a:schemeClr val="tx1">
              <a:lumMod val="75000"/>
              <a:lumOff val="25000"/>
            </a:schemeClr>
          </a:solidFill>
        </p:spPr>
        <p:txBody>
          <a:bodyPr>
            <a:normAutofit/>
          </a:bodyPr>
          <a:lstStyle>
            <a:lvl1pPr>
              <a:defRPr sz="1909">
                <a:solidFill>
                  <a:schemeClr val="bg1"/>
                </a:solidFill>
              </a:defRPr>
            </a:lvl1pPr>
          </a:lstStyle>
          <a:p>
            <a:r>
              <a:rPr lang="en-US" altLang="zh-CN"/>
              <a:t>Click to edit Master title style</a:t>
            </a:r>
            <a:endParaRPr lang="en-US"/>
          </a:p>
        </p:txBody>
      </p:sp>
      <p:sp>
        <p:nvSpPr>
          <p:cNvPr id="5" name="Footer Placeholder 4"/>
          <p:cNvSpPr>
            <a:spLocks noGrp="1"/>
          </p:cNvSpPr>
          <p:nvPr>
            <p:ph type="ftr" sz="quarter" idx="11"/>
          </p:nvPr>
        </p:nvSpPr>
        <p:spPr>
          <a:xfrm>
            <a:off x="3" y="6730349"/>
            <a:ext cx="2804965" cy="124691"/>
          </a:xfrm>
          <a:prstGeom prst="rect">
            <a:avLst/>
          </a:prstGeom>
        </p:spPr>
        <p:txBody>
          <a:bodyPr/>
          <a:lstStyle>
            <a:lvl1pPr>
              <a:defRPr sz="75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Calibri" panose="020F0502020204030204"/>
                <a:ea typeface="+mn-ea"/>
                <a:cs typeface="+mn-cs"/>
              </a:rPr>
              <a:t>MICROSOFT CONFIDENTIAL | INTERNAL USE ONLY</a:t>
            </a:r>
          </a:p>
        </p:txBody>
      </p:sp>
      <p:sp>
        <p:nvSpPr>
          <p:cNvPr id="6" name="Slide Number Placeholder 5"/>
          <p:cNvSpPr>
            <a:spLocks noGrp="1"/>
          </p:cNvSpPr>
          <p:nvPr>
            <p:ph type="sldNum" sz="quarter" idx="12"/>
          </p:nvPr>
        </p:nvSpPr>
        <p:spPr>
          <a:xfrm>
            <a:off x="11403106" y="6730349"/>
            <a:ext cx="788894" cy="124691"/>
          </a:xfrm>
          <a:prstGeom prst="rect">
            <a:avLst/>
          </a:prstGeom>
        </p:spPr>
        <p:txBody>
          <a:bodyPr/>
          <a:lstStyle>
            <a:lvl1pPr>
              <a:defRPr sz="75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501BD5D-2F98-4DB4-B4DD-6E8D2B30FC11}" type="slidenum">
              <a:rPr kumimoji="0" lang="en-US" sz="75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 Placeholder 7"/>
          <p:cNvSpPr>
            <a:spLocks noGrp="1"/>
          </p:cNvSpPr>
          <p:nvPr>
            <p:ph type="body" sz="quarter" idx="13" hasCustomPrompt="1"/>
          </p:nvPr>
        </p:nvSpPr>
        <p:spPr>
          <a:xfrm>
            <a:off x="10399059" y="0"/>
            <a:ext cx="1792940" cy="498764"/>
          </a:xfrm>
          <a:solidFill>
            <a:schemeClr val="bg2"/>
          </a:solidFill>
        </p:spPr>
        <p:txBody>
          <a:bodyPr anchor="ctr">
            <a:noAutofit/>
          </a:bodyPr>
          <a:lstStyle>
            <a:lvl1pPr marL="0" indent="0" algn="ctr">
              <a:buNone/>
              <a:defRPr sz="1225">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Account Name</a:t>
            </a:r>
          </a:p>
        </p:txBody>
      </p:sp>
      <p:sp>
        <p:nvSpPr>
          <p:cNvPr id="14" name="Text Placeholder 7"/>
          <p:cNvSpPr>
            <a:spLocks noGrp="1"/>
          </p:cNvSpPr>
          <p:nvPr>
            <p:ph type="body" sz="quarter" idx="14" hasCustomPrompt="1"/>
          </p:nvPr>
        </p:nvSpPr>
        <p:spPr>
          <a:xfrm>
            <a:off x="8606119" y="0"/>
            <a:ext cx="1792940" cy="498764"/>
          </a:xfrm>
          <a:noFill/>
        </p:spPr>
        <p:txBody>
          <a:bodyPr anchor="ctr">
            <a:noAutofit/>
          </a:bodyPr>
          <a:lstStyle>
            <a:lvl1pPr marL="0" indent="0" algn="ctr">
              <a:buNone/>
              <a:defRPr sz="1225">
                <a:solidFill>
                  <a:schemeClr val="bg1"/>
                </a:solidFill>
              </a:defRPr>
            </a:lvl1pPr>
            <a:lvl2pPr marL="457022" indent="0">
              <a:buNone/>
              <a:defRPr/>
            </a:lvl2pPr>
            <a:lvl3pPr marL="914044" indent="0">
              <a:buNone/>
              <a:defRPr/>
            </a:lvl3pPr>
            <a:lvl4pPr marL="1371067" indent="0">
              <a:buNone/>
              <a:defRPr/>
            </a:lvl4pPr>
            <a:lvl5pPr marL="1828091" indent="0">
              <a:buNone/>
              <a:defRPr/>
            </a:lvl5pPr>
          </a:lstStyle>
          <a:p>
            <a:pPr lvl="0"/>
            <a:r>
              <a:rPr lang="en-US"/>
              <a:t>Update Frequency</a:t>
            </a:r>
          </a:p>
        </p:txBody>
      </p:sp>
      <p:sp>
        <p:nvSpPr>
          <p:cNvPr id="7" name="TextBox 6">
            <a:extLst>
              <a:ext uri="{FF2B5EF4-FFF2-40B4-BE49-F238E27FC236}">
                <a16:creationId xmlns:a16="http://schemas.microsoft.com/office/drawing/2014/main" id="{48E92313-B1A1-4A2A-8B5D-0843B836C821}"/>
              </a:ext>
            </a:extLst>
          </p:cNvPr>
          <p:cNvSpPr txBox="1"/>
          <p:nvPr userDrawn="1"/>
        </p:nvSpPr>
        <p:spPr>
          <a:xfrm>
            <a:off x="8030626" y="-105877"/>
            <a:ext cx="4169155" cy="544765"/>
          </a:xfrm>
          <a:prstGeom prst="rect">
            <a:avLst/>
          </a:prstGeom>
          <a:noFill/>
        </p:spPr>
        <p:txBody>
          <a:bodyPr wrap="none" lIns="182880" tIns="146304" rIns="182880" bIns="146304" rtlCol="0">
            <a:spAutoFit/>
          </a:bodyPr>
          <a:lstStyle/>
          <a:p>
            <a:pPr>
              <a:lnSpc>
                <a:spcPct val="90000"/>
              </a:lnSpc>
              <a:spcAft>
                <a:spcPts val="600"/>
              </a:spcAft>
            </a:pPr>
            <a:r>
              <a:rPr lang="en-US" sz="1800" b="1" i="1" kern="1200">
                <a:solidFill>
                  <a:srgbClr val="FF0000"/>
                </a:solidFill>
                <a:effectLst/>
                <a:latin typeface="+mn-lt"/>
                <a:ea typeface="+mn-ea"/>
                <a:cs typeface="+mn-cs"/>
              </a:rPr>
              <a:t>Microsoft Confidential, FTE access only </a:t>
            </a:r>
            <a:endParaRPr lang="en-US" sz="2400">
              <a:solidFill>
                <a:srgbClr val="FF0000"/>
              </a:solidFill>
            </a:endParaRPr>
          </a:p>
        </p:txBody>
      </p:sp>
    </p:spTree>
    <p:extLst>
      <p:ext uri="{BB962C8B-B14F-4D97-AF65-F5344CB8AC3E}">
        <p14:creationId xmlns:p14="http://schemas.microsoft.com/office/powerpoint/2010/main" val="10970066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Slide_Option 1_Photo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4040">
                      <a:srgbClr val="525252"/>
                    </a:gs>
                    <a:gs pos="17000">
                      <a:srgbClr val="525252"/>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1"/>
            <a:ext cx="6276530" cy="1789991"/>
          </a:xfrm>
        </p:spPr>
        <p:txBody>
          <a:bodyPr tIns="109728" bIns="109728">
            <a:noAutofit/>
          </a:bodyPr>
          <a:lstStyle>
            <a:lvl1pPr marL="0" indent="0">
              <a:spcBef>
                <a:spcPts val="0"/>
              </a:spcBef>
              <a:buNone/>
              <a:defRPr sz="3137">
                <a:gradFill>
                  <a:gsLst>
                    <a:gs pos="4040">
                      <a:srgbClr val="525252"/>
                    </a:gs>
                    <a:gs pos="17000">
                      <a:srgbClr val="525252"/>
                    </a:gs>
                  </a:gsLst>
                  <a:lin ang="5400000" scaled="0"/>
                </a:gradFill>
              </a:defRPr>
            </a:lvl1pPr>
          </a:lstStyle>
          <a:p>
            <a:pPr lvl="0"/>
            <a:r>
              <a:rPr lang="en-US"/>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090" y="470411"/>
            <a:ext cx="1228189" cy="263937"/>
          </a:xfrm>
          <a:prstGeom prst="rect">
            <a:avLst/>
          </a:prstGeom>
        </p:spPr>
      </p:pic>
    </p:spTree>
    <p:extLst>
      <p:ext uri="{BB962C8B-B14F-4D97-AF65-F5344CB8AC3E}">
        <p14:creationId xmlns:p14="http://schemas.microsoft.com/office/powerpoint/2010/main" val="3095018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24251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69240" y="1189176"/>
            <a:ext cx="11653523" cy="1909005"/>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8528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Only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0" y="301691"/>
            <a:ext cx="11671166" cy="780349"/>
          </a:xfrm>
          <a:prstGeom prst="rect">
            <a:avLst/>
          </a:prstGeom>
          <a:effectLst/>
        </p:spPr>
        <p:txBody>
          <a:bodyPr lIns="559562" tIns="46614" rIns="93231" bIns="46614" anchor="ctr"/>
          <a:lstStyle>
            <a:lvl1pPr>
              <a:defRPr lang="en-US" dirty="0"/>
            </a:lvl1pPr>
          </a:lstStyle>
          <a:p>
            <a:pPr marL="0" marR="0" lvl="0" indent="0" defTabSz="896043" fontAlgn="auto">
              <a:lnSpc>
                <a:spcPts val="3430"/>
              </a:lnSpc>
              <a:spcAft>
                <a:spcPts val="0"/>
              </a:spcAft>
              <a:buClrTx/>
              <a:buSzTx/>
              <a:buFontTx/>
              <a:tabLst/>
            </a:pPr>
            <a:r>
              <a:rPr lang="en-US" dirty="0"/>
              <a:t>Click to edit master title style</a:t>
            </a:r>
          </a:p>
        </p:txBody>
      </p:sp>
    </p:spTree>
    <p:extLst>
      <p:ext uri="{BB962C8B-B14F-4D97-AF65-F5344CB8AC3E}">
        <p14:creationId xmlns:p14="http://schemas.microsoft.com/office/powerpoint/2010/main" val="683762205"/>
      </p:ext>
    </p:extLst>
  </p:cSld>
  <p:clrMapOvr>
    <a:masterClrMapping/>
  </p:clrMapOvr>
  <p:transition>
    <p:fade/>
  </p:transition>
  <p:extLst>
    <p:ext uri="{DCECCB84-F9BA-43D5-87BE-67443E8EF086}">
      <p15:sldGuideLst xmlns:p15="http://schemas.microsoft.com/office/powerpoint/2012/main">
        <p15:guide id="1" pos="7661">
          <p15:clr>
            <a:srgbClr val="FBAE40"/>
          </p15:clr>
        </p15:guide>
        <p15:guide id="2" pos="173">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D6EE6-E88D-4B44-BC68-D399D052D5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F98475-29F5-4997-B4A5-0D13AA36CCB0}"/>
              </a:ext>
            </a:extLst>
          </p:cNvPr>
          <p:cNvSpPr>
            <a:spLocks noGrp="1"/>
          </p:cNvSpPr>
          <p:nvPr>
            <p:ph sz="half" idx="1"/>
          </p:nvPr>
        </p:nvSpPr>
        <p:spPr>
          <a:xfrm>
            <a:off x="838200" y="1825625"/>
            <a:ext cx="518160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C6F6A4-C6E6-49E8-9AB9-B3D53A89E10B}"/>
              </a:ext>
            </a:extLst>
          </p:cNvPr>
          <p:cNvSpPr>
            <a:spLocks noGrp="1"/>
          </p:cNvSpPr>
          <p:nvPr>
            <p:ph sz="half" idx="2"/>
          </p:nvPr>
        </p:nvSpPr>
        <p:spPr>
          <a:xfrm>
            <a:off x="6172200" y="1825625"/>
            <a:ext cx="518160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159D9E6-BF4B-481E-9E23-3578F68C038D}"/>
              </a:ext>
            </a:extLst>
          </p:cNvPr>
          <p:cNvSpPr>
            <a:spLocks noGrp="1"/>
          </p:cNvSpPr>
          <p:nvPr>
            <p:ph type="dt" sz="half" idx="10"/>
          </p:nvPr>
        </p:nvSpPr>
        <p:spPr/>
        <p:txBody>
          <a:bodyPr/>
          <a:lstStyle/>
          <a:p>
            <a:fld id="{25DC0F63-EF55-49C4-8BA4-2D704CD1ADDE}" type="datetimeFigureOut">
              <a:rPr lang="en-US" smtClean="0"/>
              <a:t>3/31/2021</a:t>
            </a:fld>
            <a:endParaRPr lang="en-US"/>
          </a:p>
        </p:txBody>
      </p:sp>
      <p:sp>
        <p:nvSpPr>
          <p:cNvPr id="6" name="Footer Placeholder 5">
            <a:extLst>
              <a:ext uri="{FF2B5EF4-FFF2-40B4-BE49-F238E27FC236}">
                <a16:creationId xmlns:a16="http://schemas.microsoft.com/office/drawing/2014/main" id="{1EFA7C3B-6F75-4AD0-A6A7-E8D43D7EF1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9453E8-1CDE-4FEE-AFBD-873C506FA06A}"/>
              </a:ext>
            </a:extLst>
          </p:cNvPr>
          <p:cNvSpPr>
            <a:spLocks noGrp="1"/>
          </p:cNvSpPr>
          <p:nvPr>
            <p:ph type="sldNum" sz="quarter" idx="12"/>
          </p:nvPr>
        </p:nvSpPr>
        <p:spPr/>
        <p:txBody>
          <a:bodyPr/>
          <a:lstStyle/>
          <a:p>
            <a:fld id="{808FF4CA-EB4D-4D5A-B317-A002659EE792}" type="slidenum">
              <a:rPr lang="en-US" smtClean="0"/>
              <a:t>‹#›</a:t>
            </a:fld>
            <a:endParaRPr lang="en-US"/>
          </a:p>
        </p:txBody>
      </p:sp>
    </p:spTree>
    <p:extLst>
      <p:ext uri="{BB962C8B-B14F-4D97-AF65-F5344CB8AC3E}">
        <p14:creationId xmlns:p14="http://schemas.microsoft.com/office/powerpoint/2010/main" val="8298220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52492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15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2190058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1_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dirty="0"/>
              <a:t>Click to edit Master title style</a:t>
            </a:r>
          </a:p>
        </p:txBody>
      </p:sp>
      <p:sp>
        <p:nvSpPr>
          <p:cNvPr id="5" name="Slide Number Placeholder 12"/>
          <p:cNvSpPr>
            <a:spLocks noGrp="1"/>
          </p:cNvSpPr>
          <p:nvPr>
            <p:ph type="sldNum" sz="quarter" idx="4"/>
          </p:nvPr>
        </p:nvSpPr>
        <p:spPr>
          <a:xfrm>
            <a:off x="9180574" y="6248512"/>
            <a:ext cx="2742188" cy="364224"/>
          </a:xfrm>
          <a:prstGeom prst="rect">
            <a:avLst/>
          </a:prstGeom>
        </p:spPr>
        <p:txBody>
          <a:bodyPr vert="horz" lIns="91440" tIns="45720" rIns="146304" bIns="45720" rtlCol="0" anchor="ctr"/>
          <a:lstStyle>
            <a:lvl1pPr marL="0" algn="r" defTabSz="914192" rtl="0" eaLnBrk="1" latinLnBrk="0" hangingPunct="1">
              <a:lnSpc>
                <a:spcPct val="90000"/>
              </a:lnSpc>
              <a:spcAft>
                <a:spcPts val="588"/>
              </a:spcAft>
              <a:defRPr lang="en-US" sz="1961"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dirty="0"/>
          </a:p>
        </p:txBody>
      </p:sp>
    </p:spTree>
    <p:extLst>
      <p:ext uri="{BB962C8B-B14F-4D97-AF65-F5344CB8AC3E}">
        <p14:creationId xmlns:p14="http://schemas.microsoft.com/office/powerpoint/2010/main" val="1059609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2_Blank_1">
    <p:spTree>
      <p:nvGrpSpPr>
        <p:cNvPr id="1" name=""/>
        <p:cNvGrpSpPr/>
        <p:nvPr/>
      </p:nvGrpSpPr>
      <p:grpSpPr>
        <a:xfrm>
          <a:off x="0" y="0"/>
          <a:ext cx="0" cy="0"/>
          <a:chOff x="0" y="0"/>
          <a:chExt cx="0" cy="0"/>
        </a:xfrm>
      </p:grpSpPr>
      <p:sp>
        <p:nvSpPr>
          <p:cNvPr id="4" name="Slide Number Placeholder 12"/>
          <p:cNvSpPr>
            <a:spLocks noGrp="1"/>
          </p:cNvSpPr>
          <p:nvPr>
            <p:ph type="sldNum" sz="quarter" idx="4"/>
          </p:nvPr>
        </p:nvSpPr>
        <p:spPr>
          <a:xfrm>
            <a:off x="9180574" y="6248511"/>
            <a:ext cx="2742188" cy="364224"/>
          </a:xfrm>
          <a:prstGeom prst="rect">
            <a:avLst/>
          </a:prstGeom>
        </p:spPr>
        <p:txBody>
          <a:bodyPr vert="horz" lIns="91440" tIns="45720" rIns="146304" bIns="45720" rtlCol="0" anchor="ctr"/>
          <a:lstStyle>
            <a:lvl1pPr marL="0" algn="r" defTabSz="914367" rtl="0" eaLnBrk="1" latinLnBrk="0" hangingPunct="1">
              <a:lnSpc>
                <a:spcPct val="90000"/>
              </a:lnSpc>
              <a:spcAft>
                <a:spcPts val="588"/>
              </a:spcAft>
              <a:defRPr lang="en-US" sz="1961"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dirty="0"/>
          </a:p>
        </p:txBody>
      </p:sp>
    </p:spTree>
    <p:extLst>
      <p:ext uri="{BB962C8B-B14F-4D97-AF65-F5344CB8AC3E}">
        <p14:creationId xmlns:p14="http://schemas.microsoft.com/office/powerpoint/2010/main" val="42411771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7861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2604988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90765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933929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665033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2024651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41369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135070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78863512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2723403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882617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4483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55770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image" Target="../media/image1.emf"/><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heme" Target="../theme/theme3.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image" Target="../media/image1.emf"/><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image" Target="../media/image1.emf"/><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theme" Target="../theme/theme4.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8" Type="http://schemas.openxmlformats.org/officeDocument/2006/relationships/slideLayout" Target="../slideLayouts/slideLayout62.xml"/><Relationship Id="rId3"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theme" Target="../theme/theme5.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 Type="http://schemas.openxmlformats.org/officeDocument/2006/relationships/slideLayout" Target="../slideLayouts/slideLayout120.xml"/><Relationship Id="rId21" Type="http://schemas.openxmlformats.org/officeDocument/2006/relationships/image" Target="../media/image17.png"/><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theme" Target="../theme/theme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image" Target="../media/image1.emf"/><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image" Target="../media/image1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53976670"/>
      </p:ext>
    </p:extLst>
  </p:cSld>
  <p:clrMap bg1="dk1" tx1="lt1" bg2="dk2" tx2="lt2" accent1="accent1" accent2="accent2" accent3="accent3" accent4="accent4" accent5="accent5" accent6="accent6" hlink="hlink" folHlink="folHlink"/>
  <p:sldLayoutIdLst>
    <p:sldLayoutId id="2147483663" r:id="rId1"/>
    <p:sldLayoutId id="2147483681"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19053686"/>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64850135"/>
      </p:ext>
    </p:extLst>
  </p:cSld>
  <p:clrMap bg1="dk1" tx1="lt1" bg2="dk2" tx2="lt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7"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32152093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 id="2147483756" r:id="rId35"/>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solidFill>
            <a:schemeClr val="tx1"/>
          </a:soli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solidFill>
            <a:schemeClr val="tx1"/>
          </a:soli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solidFill>
            <a:schemeClr val="tx1"/>
          </a:soli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solidFill>
            <a:schemeClr val="tx1"/>
          </a:soli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568843321"/>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09C4FE2-AE5C-415E-B144-E5678787832C}" type="datetimeFigureOut">
              <a:rPr lang="en-US" smtClean="0"/>
              <a:t>3/31/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8AD1322-8C57-468B-83EA-78284625AF84}" type="slidenum">
              <a:rPr lang="en-US" smtClean="0"/>
              <a:t>‹#›</a:t>
            </a:fld>
            <a:endParaRPr lang="en-US"/>
          </a:p>
        </p:txBody>
      </p:sp>
      <p:pic>
        <p:nvPicPr>
          <p:cNvPr id="7" name="Picture 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2340346" y="3114158"/>
            <a:ext cx="1577213" cy="369795"/>
          </a:xfrm>
          <a:prstGeom prst="rect">
            <a:avLst/>
          </a:prstGeom>
        </p:spPr>
      </p:pic>
      <p:pic>
        <p:nvPicPr>
          <p:cNvPr id="8" name="Picture 7"/>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2340346" y="3666941"/>
            <a:ext cx="2228920" cy="254412"/>
          </a:xfrm>
          <a:prstGeom prst="rect">
            <a:avLst/>
          </a:prstGeom>
        </p:spPr>
      </p:pic>
      <p:pic>
        <p:nvPicPr>
          <p:cNvPr id="9" name="Picture 8">
            <a:extLst>
              <a:ext uri="{FF2B5EF4-FFF2-40B4-BE49-F238E27FC236}">
                <a16:creationId xmlns:a16="http://schemas.microsoft.com/office/drawing/2014/main" id="{8C719ADC-A7A1-44AE-A1C8-1682D12274E6}"/>
              </a:ext>
            </a:extLst>
          </p:cNvPr>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362795782"/>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2" r:id="rId15"/>
    <p:sldLayoutId id="2147483803" r:id="rId16"/>
    <p:sldLayoutId id="2147483806" r:id="rId17"/>
    <p:sldLayoutId id="2147483809" r:id="rId18"/>
    <p:sldLayoutId id="2147483810"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8.xml"/></Relationships>
</file>

<file path=ppt/slides/_rels/slide10.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7.xml"/><Relationship Id="rId1" Type="http://schemas.openxmlformats.org/officeDocument/2006/relationships/slideLayout" Target="../slideLayouts/slideLayout13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1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4.xml"/></Relationships>
</file>

<file path=ppt/slides/_rels/slide1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0.xml"/><Relationship Id="rId1" Type="http://schemas.openxmlformats.org/officeDocument/2006/relationships/slideLayout" Target="../slideLayouts/slideLayout132.xml"/></Relationships>
</file>

<file path=ppt/slides/_rels/slide1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1.xml"/><Relationship Id="rId1" Type="http://schemas.openxmlformats.org/officeDocument/2006/relationships/slideLayout" Target="../slideLayouts/slideLayout132.xml"/></Relationships>
</file>

<file path=ppt/slides/_rels/slide16.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2.xml"/><Relationship Id="rId1" Type="http://schemas.openxmlformats.org/officeDocument/2006/relationships/slideLayout" Target="../slideLayouts/slideLayout132.xml"/></Relationships>
</file>

<file path=ppt/slides/_rels/slide1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3.xml"/><Relationship Id="rId1" Type="http://schemas.openxmlformats.org/officeDocument/2006/relationships/slideLayout" Target="../slideLayouts/slideLayout1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3.xml"/><Relationship Id="rId1" Type="http://schemas.openxmlformats.org/officeDocument/2006/relationships/slideLayout" Target="../slideLayouts/slideLayout124.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34.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9.xml"/></Relationships>
</file>

<file path=ppt/slides/_rels/slide8.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5.xml"/><Relationship Id="rId1" Type="http://schemas.openxmlformats.org/officeDocument/2006/relationships/slideLayout" Target="../slideLayouts/slideLayout135.xml"/></Relationships>
</file>

<file path=ppt/slides/_rels/slide9.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6.xml"/><Relationship Id="rId1" Type="http://schemas.openxmlformats.org/officeDocument/2006/relationships/slideLayout" Target="../slideLayouts/slideLayout1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a:xfrm>
            <a:off x="3398292" y="3812779"/>
            <a:ext cx="8311487" cy="1019174"/>
          </a:xfrm>
        </p:spPr>
        <p:txBody>
          <a:bodyPr anchor="b">
            <a:normAutofit/>
          </a:bodyPr>
          <a:lstStyle/>
          <a:p>
            <a:r>
              <a:rPr lang="en-US" spc="0" dirty="0"/>
              <a:t>Azure Security Posture</a:t>
            </a:r>
          </a:p>
        </p:txBody>
      </p:sp>
      <p:sp>
        <p:nvSpPr>
          <p:cNvPr id="8" name="Text Placeholder 4"/>
          <p:cNvSpPr txBox="1">
            <a:spLocks/>
          </p:cNvSpPr>
          <p:nvPr/>
        </p:nvSpPr>
        <p:spPr>
          <a:xfrm>
            <a:off x="3398292" y="5151110"/>
            <a:ext cx="8311486" cy="969005"/>
          </a:xfrm>
          <a:prstGeom prst="rect">
            <a:avLst/>
          </a:prstGeom>
        </p:spPr>
        <p:txBody>
          <a:bodyPr vert="horz" lIns="161356" tIns="107571" rIns="161356" bIns="107571" rtlCol="0" anchor="ctr">
            <a:norm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89381">
                      <a:schemeClr val="tx1"/>
                    </a:gs>
                    <a:gs pos="64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spcAft>
                <a:spcPts val="600"/>
              </a:spcAft>
              <a:defRPr/>
            </a:pPr>
            <a:endParaRPr lang="en-US" sz="2400" dirty="0">
              <a:solidFill>
                <a:srgbClr val="0070C0"/>
              </a:solidFill>
            </a:endParaRPr>
          </a:p>
          <a:p>
            <a:pPr algn="ctr" defTabSz="914367">
              <a:spcAft>
                <a:spcPts val="600"/>
              </a:spcAft>
              <a:defRPr/>
            </a:pPr>
            <a:endParaRPr lang="en-US" sz="2400" dirty="0">
              <a:solidFill>
                <a:srgbClr val="0070C0"/>
              </a:solidFill>
            </a:endParaRPr>
          </a:p>
        </p:txBody>
      </p:sp>
      <p:sp>
        <p:nvSpPr>
          <p:cNvPr id="3" name="Rectangle 2">
            <a:extLst>
              <a:ext uri="{FF2B5EF4-FFF2-40B4-BE49-F238E27FC236}">
                <a16:creationId xmlns:a16="http://schemas.microsoft.com/office/drawing/2014/main" id="{7EF52A01-7819-4C30-90F9-BF0B8B8F414A}"/>
              </a:ext>
            </a:extLst>
          </p:cNvPr>
          <p:cNvSpPr/>
          <p:nvPr/>
        </p:nvSpPr>
        <p:spPr>
          <a:xfrm>
            <a:off x="5974838" y="3247965"/>
            <a:ext cx="247184" cy="363946"/>
          </a:xfrm>
          <a:prstGeom prst="rect">
            <a:avLst/>
          </a:prstGeom>
        </p:spPr>
        <p:txBody>
          <a:bodyPr wrap="none">
            <a:spAutoFit/>
          </a:bodyPr>
          <a:lstStyle/>
          <a:p>
            <a:pPr defTabSz="914367">
              <a:spcAft>
                <a:spcPts val="600"/>
              </a:spcAft>
              <a:defRPr/>
            </a:pPr>
            <a:r>
              <a:rPr lang="en-US" sz="1765" dirty="0">
                <a:solidFill>
                  <a:srgbClr val="FFFFFF"/>
                </a:solidFill>
                <a:latin typeface="Segoe UI Semilight"/>
              </a:rPr>
              <a:t> </a:t>
            </a:r>
            <a:endParaRPr lang="en-US" sz="1765">
              <a:solidFill>
                <a:srgbClr val="FFFFFF"/>
              </a:solidFill>
              <a:latin typeface="Segoe UI Semilight"/>
            </a:endParaRPr>
          </a:p>
        </p:txBody>
      </p:sp>
    </p:spTree>
    <p:extLst>
      <p:ext uri="{BB962C8B-B14F-4D97-AF65-F5344CB8AC3E}">
        <p14:creationId xmlns:p14="http://schemas.microsoft.com/office/powerpoint/2010/main" val="384656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normAutofit fontScale="90000"/>
          </a:bodyPr>
          <a:lstStyle/>
          <a:p>
            <a:r>
              <a:rPr lang="en-US" dirty="0"/>
              <a:t>Block malware and other unwanted applications </a:t>
            </a:r>
          </a:p>
        </p:txBody>
      </p:sp>
      <p:grpSp>
        <p:nvGrpSpPr>
          <p:cNvPr id="33" name="Group 32"/>
          <p:cNvGrpSpPr/>
          <p:nvPr/>
        </p:nvGrpSpPr>
        <p:grpSpPr>
          <a:xfrm>
            <a:off x="11141276" y="377197"/>
            <a:ext cx="685589" cy="678528"/>
            <a:chOff x="7145338" y="-1084263"/>
            <a:chExt cx="1541462" cy="1525588"/>
          </a:xfrm>
          <a:solidFill>
            <a:schemeClr val="accent1">
              <a:lumMod val="75000"/>
            </a:schemeClr>
          </a:solidFill>
        </p:grpSpPr>
        <p:sp>
          <p:nvSpPr>
            <p:cNvPr id="34" name="Freeform 31"/>
            <p:cNvSpPr>
              <a:spLocks/>
            </p:cNvSpPr>
            <p:nvPr/>
          </p:nvSpPr>
          <p:spPr bwMode="auto">
            <a:xfrm>
              <a:off x="7145338" y="-1084263"/>
              <a:ext cx="1541462" cy="1525588"/>
            </a:xfrm>
            <a:custGeom>
              <a:avLst/>
              <a:gdLst>
                <a:gd name="T0" fmla="*/ 239 w 473"/>
                <a:gd name="T1" fmla="*/ 0 h 468"/>
                <a:gd name="T2" fmla="*/ 24 w 473"/>
                <a:gd name="T3" fmla="*/ 142 h 468"/>
                <a:gd name="T4" fmla="*/ 24 w 473"/>
                <a:gd name="T5" fmla="*/ 88 h 468"/>
                <a:gd name="T6" fmla="*/ 0 w 473"/>
                <a:gd name="T7" fmla="*/ 88 h 468"/>
                <a:gd name="T8" fmla="*/ 0 w 473"/>
                <a:gd name="T9" fmla="*/ 175 h 468"/>
                <a:gd name="T10" fmla="*/ 87 w 473"/>
                <a:gd name="T11" fmla="*/ 175 h 468"/>
                <a:gd name="T12" fmla="*/ 87 w 473"/>
                <a:gd name="T13" fmla="*/ 151 h 468"/>
                <a:gd name="T14" fmla="*/ 47 w 473"/>
                <a:gd name="T15" fmla="*/ 151 h 468"/>
                <a:gd name="T16" fmla="*/ 239 w 473"/>
                <a:gd name="T17" fmla="*/ 24 h 468"/>
                <a:gd name="T18" fmla="*/ 449 w 473"/>
                <a:gd name="T19" fmla="*/ 234 h 468"/>
                <a:gd name="T20" fmla="*/ 239 w 473"/>
                <a:gd name="T21" fmla="*/ 444 h 468"/>
                <a:gd name="T22" fmla="*/ 29 w 473"/>
                <a:gd name="T23" fmla="*/ 234 h 468"/>
                <a:gd name="T24" fmla="*/ 5 w 473"/>
                <a:gd name="T25" fmla="*/ 234 h 468"/>
                <a:gd name="T26" fmla="*/ 239 w 473"/>
                <a:gd name="T27" fmla="*/ 468 h 468"/>
                <a:gd name="T28" fmla="*/ 473 w 473"/>
                <a:gd name="T29" fmla="*/ 234 h 468"/>
                <a:gd name="T30" fmla="*/ 239 w 473"/>
                <a:gd name="T31"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3" h="468">
                  <a:moveTo>
                    <a:pt x="239" y="0"/>
                  </a:moveTo>
                  <a:cubicBezTo>
                    <a:pt x="145" y="0"/>
                    <a:pt x="61" y="56"/>
                    <a:pt x="24" y="142"/>
                  </a:cubicBezTo>
                  <a:cubicBezTo>
                    <a:pt x="24" y="88"/>
                    <a:pt x="24" y="88"/>
                    <a:pt x="24" y="88"/>
                  </a:cubicBezTo>
                  <a:cubicBezTo>
                    <a:pt x="0" y="88"/>
                    <a:pt x="0" y="88"/>
                    <a:pt x="0" y="88"/>
                  </a:cubicBezTo>
                  <a:cubicBezTo>
                    <a:pt x="0" y="175"/>
                    <a:pt x="0" y="175"/>
                    <a:pt x="0" y="175"/>
                  </a:cubicBezTo>
                  <a:cubicBezTo>
                    <a:pt x="87" y="175"/>
                    <a:pt x="87" y="175"/>
                    <a:pt x="87" y="175"/>
                  </a:cubicBezTo>
                  <a:cubicBezTo>
                    <a:pt x="87" y="151"/>
                    <a:pt x="87" y="151"/>
                    <a:pt x="87" y="151"/>
                  </a:cubicBezTo>
                  <a:cubicBezTo>
                    <a:pt x="47" y="151"/>
                    <a:pt x="47" y="151"/>
                    <a:pt x="47" y="151"/>
                  </a:cubicBezTo>
                  <a:cubicBezTo>
                    <a:pt x="79" y="74"/>
                    <a:pt x="155" y="24"/>
                    <a:pt x="239" y="24"/>
                  </a:cubicBezTo>
                  <a:cubicBezTo>
                    <a:pt x="355" y="24"/>
                    <a:pt x="449" y="118"/>
                    <a:pt x="449" y="234"/>
                  </a:cubicBezTo>
                  <a:cubicBezTo>
                    <a:pt x="449" y="350"/>
                    <a:pt x="355" y="444"/>
                    <a:pt x="239" y="444"/>
                  </a:cubicBezTo>
                  <a:cubicBezTo>
                    <a:pt x="124" y="444"/>
                    <a:pt x="29" y="350"/>
                    <a:pt x="29" y="234"/>
                  </a:cubicBezTo>
                  <a:cubicBezTo>
                    <a:pt x="5" y="234"/>
                    <a:pt x="5" y="234"/>
                    <a:pt x="5" y="234"/>
                  </a:cubicBezTo>
                  <a:cubicBezTo>
                    <a:pt x="5" y="363"/>
                    <a:pt x="110" y="468"/>
                    <a:pt x="239" y="468"/>
                  </a:cubicBezTo>
                  <a:cubicBezTo>
                    <a:pt x="369" y="468"/>
                    <a:pt x="473" y="363"/>
                    <a:pt x="473" y="234"/>
                  </a:cubicBezTo>
                  <a:cubicBezTo>
                    <a:pt x="473" y="105"/>
                    <a:pt x="369" y="0"/>
                    <a:pt x="2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5" name="Freeform 32"/>
            <p:cNvSpPr>
              <a:spLocks noEditPoints="1"/>
            </p:cNvSpPr>
            <p:nvPr/>
          </p:nvSpPr>
          <p:spPr bwMode="auto">
            <a:xfrm>
              <a:off x="7562850" y="-709613"/>
              <a:ext cx="709612" cy="825500"/>
            </a:xfrm>
            <a:custGeom>
              <a:avLst/>
              <a:gdLst>
                <a:gd name="T0" fmla="*/ 218 w 218"/>
                <a:gd name="T1" fmla="*/ 126 h 253"/>
                <a:gd name="T2" fmla="*/ 218 w 218"/>
                <a:gd name="T3" fmla="*/ 34 h 253"/>
                <a:gd name="T4" fmla="*/ 212 w 218"/>
                <a:gd name="T5" fmla="*/ 31 h 253"/>
                <a:gd name="T6" fmla="*/ 109 w 218"/>
                <a:gd name="T7" fmla="*/ 0 h 253"/>
                <a:gd name="T8" fmla="*/ 109 w 218"/>
                <a:gd name="T9" fmla="*/ 0 h 253"/>
                <a:gd name="T10" fmla="*/ 109 w 218"/>
                <a:gd name="T11" fmla="*/ 0 h 253"/>
                <a:gd name="T12" fmla="*/ 6 w 218"/>
                <a:gd name="T13" fmla="*/ 31 h 253"/>
                <a:gd name="T14" fmla="*/ 0 w 218"/>
                <a:gd name="T15" fmla="*/ 34 h 253"/>
                <a:gd name="T16" fmla="*/ 0 w 218"/>
                <a:gd name="T17" fmla="*/ 126 h 253"/>
                <a:gd name="T18" fmla="*/ 109 w 218"/>
                <a:gd name="T19" fmla="*/ 253 h 253"/>
                <a:gd name="T20" fmla="*/ 218 w 218"/>
                <a:gd name="T21" fmla="*/ 126 h 253"/>
                <a:gd name="T22" fmla="*/ 109 w 218"/>
                <a:gd name="T23" fmla="*/ 24 h 253"/>
                <a:gd name="T24" fmla="*/ 194 w 218"/>
                <a:gd name="T25" fmla="*/ 49 h 253"/>
                <a:gd name="T26" fmla="*/ 194 w 218"/>
                <a:gd name="T27" fmla="*/ 62 h 253"/>
                <a:gd name="T28" fmla="*/ 24 w 218"/>
                <a:gd name="T29" fmla="*/ 62 h 253"/>
                <a:gd name="T30" fmla="*/ 24 w 218"/>
                <a:gd name="T31" fmla="*/ 49 h 253"/>
                <a:gd name="T32" fmla="*/ 109 w 218"/>
                <a:gd name="T33" fmla="*/ 24 h 253"/>
                <a:gd name="T34" fmla="*/ 24 w 218"/>
                <a:gd name="T35" fmla="*/ 126 h 253"/>
                <a:gd name="T36" fmla="*/ 24 w 218"/>
                <a:gd name="T37" fmla="*/ 86 h 253"/>
                <a:gd name="T38" fmla="*/ 194 w 218"/>
                <a:gd name="T39" fmla="*/ 86 h 253"/>
                <a:gd name="T40" fmla="*/ 194 w 218"/>
                <a:gd name="T41" fmla="*/ 126 h 253"/>
                <a:gd name="T42" fmla="*/ 109 w 218"/>
                <a:gd name="T43" fmla="*/ 229 h 253"/>
                <a:gd name="T44" fmla="*/ 24 w 218"/>
                <a:gd name="T45"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8" h="253">
                  <a:moveTo>
                    <a:pt x="218" y="126"/>
                  </a:moveTo>
                  <a:cubicBezTo>
                    <a:pt x="218" y="34"/>
                    <a:pt x="218" y="34"/>
                    <a:pt x="218" y="34"/>
                  </a:cubicBezTo>
                  <a:cubicBezTo>
                    <a:pt x="212" y="31"/>
                    <a:pt x="212" y="31"/>
                    <a:pt x="212" y="31"/>
                  </a:cubicBezTo>
                  <a:cubicBezTo>
                    <a:pt x="210" y="30"/>
                    <a:pt x="160" y="1"/>
                    <a:pt x="109" y="0"/>
                  </a:cubicBezTo>
                  <a:cubicBezTo>
                    <a:pt x="109" y="0"/>
                    <a:pt x="109" y="0"/>
                    <a:pt x="109" y="0"/>
                  </a:cubicBezTo>
                  <a:cubicBezTo>
                    <a:pt x="109" y="0"/>
                    <a:pt x="109" y="0"/>
                    <a:pt x="109" y="0"/>
                  </a:cubicBezTo>
                  <a:cubicBezTo>
                    <a:pt x="58" y="1"/>
                    <a:pt x="8" y="30"/>
                    <a:pt x="6" y="31"/>
                  </a:cubicBezTo>
                  <a:cubicBezTo>
                    <a:pt x="0" y="34"/>
                    <a:pt x="0" y="34"/>
                    <a:pt x="0" y="34"/>
                  </a:cubicBezTo>
                  <a:cubicBezTo>
                    <a:pt x="0" y="126"/>
                    <a:pt x="0" y="126"/>
                    <a:pt x="0" y="126"/>
                  </a:cubicBezTo>
                  <a:cubicBezTo>
                    <a:pt x="0" y="185"/>
                    <a:pt x="77" y="253"/>
                    <a:pt x="109" y="253"/>
                  </a:cubicBezTo>
                  <a:cubicBezTo>
                    <a:pt x="140" y="253"/>
                    <a:pt x="218" y="185"/>
                    <a:pt x="218" y="126"/>
                  </a:cubicBezTo>
                  <a:close/>
                  <a:moveTo>
                    <a:pt x="109" y="24"/>
                  </a:moveTo>
                  <a:cubicBezTo>
                    <a:pt x="144" y="25"/>
                    <a:pt x="180" y="42"/>
                    <a:pt x="194" y="49"/>
                  </a:cubicBezTo>
                  <a:cubicBezTo>
                    <a:pt x="194" y="62"/>
                    <a:pt x="194" y="62"/>
                    <a:pt x="194" y="62"/>
                  </a:cubicBezTo>
                  <a:cubicBezTo>
                    <a:pt x="24" y="62"/>
                    <a:pt x="24" y="62"/>
                    <a:pt x="24" y="62"/>
                  </a:cubicBezTo>
                  <a:cubicBezTo>
                    <a:pt x="24" y="49"/>
                    <a:pt x="24" y="49"/>
                    <a:pt x="24" y="49"/>
                  </a:cubicBezTo>
                  <a:cubicBezTo>
                    <a:pt x="38" y="42"/>
                    <a:pt x="74" y="25"/>
                    <a:pt x="109" y="24"/>
                  </a:cubicBezTo>
                  <a:close/>
                  <a:moveTo>
                    <a:pt x="24" y="126"/>
                  </a:moveTo>
                  <a:cubicBezTo>
                    <a:pt x="24" y="86"/>
                    <a:pt x="24" y="86"/>
                    <a:pt x="24" y="86"/>
                  </a:cubicBezTo>
                  <a:cubicBezTo>
                    <a:pt x="194" y="86"/>
                    <a:pt x="194" y="86"/>
                    <a:pt x="194" y="86"/>
                  </a:cubicBezTo>
                  <a:cubicBezTo>
                    <a:pt x="194" y="126"/>
                    <a:pt x="194" y="126"/>
                    <a:pt x="194" y="126"/>
                  </a:cubicBezTo>
                  <a:cubicBezTo>
                    <a:pt x="194" y="173"/>
                    <a:pt x="125" y="229"/>
                    <a:pt x="109" y="229"/>
                  </a:cubicBezTo>
                  <a:cubicBezTo>
                    <a:pt x="92" y="229"/>
                    <a:pt x="24" y="173"/>
                    <a:pt x="24"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sp>
        <p:nvSpPr>
          <p:cNvPr id="13" name="Text Placeholder 12"/>
          <p:cNvSpPr txBox="1">
            <a:spLocks/>
          </p:cNvSpPr>
          <p:nvPr/>
        </p:nvSpPr>
        <p:spPr>
          <a:xfrm>
            <a:off x="269240" y="2626515"/>
            <a:ext cx="4210572" cy="1780186"/>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874">
              <a:spcBef>
                <a:spcPts val="588"/>
              </a:spcBef>
              <a:spcAft>
                <a:spcPts val="588"/>
              </a:spcAft>
              <a:buNone/>
              <a:defRPr/>
            </a:pPr>
            <a:r>
              <a:rPr lang="en-US" sz="1765" b="1" kern="0" dirty="0">
                <a:solidFill>
                  <a:schemeClr val="bg1"/>
                </a:solidFill>
                <a:latin typeface="Segoe UI" panose="020B0502040204020203" pitchFamily="34" charset="0"/>
                <a:cs typeface="Segoe UI" panose="020B0502040204020203" pitchFamily="34" charset="0"/>
              </a:rPr>
              <a:t>Allow safe applications only</a:t>
            </a:r>
          </a:p>
          <a:p>
            <a:pPr marL="448193" lvl="1" indent="0" defTabSz="913874">
              <a:spcBef>
                <a:spcPts val="588"/>
              </a:spcBef>
              <a:spcAft>
                <a:spcPts val="588"/>
              </a:spcAft>
              <a:buNone/>
              <a:defRPr/>
            </a:pPr>
            <a:r>
              <a:rPr lang="en-US" sz="1765" dirty="0">
                <a:solidFill>
                  <a:schemeClr val="bg1"/>
                </a:solidFill>
                <a:cs typeface="Segoe UI" panose="020B0502040204020203" pitchFamily="34" charset="0"/>
              </a:rPr>
              <a:t>Adaptive whitelisting learns application patterns</a:t>
            </a:r>
          </a:p>
          <a:p>
            <a:pPr marL="448193" lvl="1" indent="0" defTabSz="913874">
              <a:spcBef>
                <a:spcPts val="1176"/>
              </a:spcBef>
              <a:spcAft>
                <a:spcPts val="1176"/>
              </a:spcAft>
              <a:buNone/>
              <a:defRPr/>
            </a:pPr>
            <a:r>
              <a:rPr lang="en-US" sz="1765" dirty="0">
                <a:solidFill>
                  <a:schemeClr val="bg1"/>
                </a:solidFill>
                <a:cs typeface="Segoe UI" panose="020B0502040204020203" pitchFamily="34" charset="0"/>
              </a:rPr>
              <a:t>Simplified management with recommended whitelists</a:t>
            </a:r>
          </a:p>
        </p:txBody>
      </p:sp>
      <p:sp>
        <p:nvSpPr>
          <p:cNvPr id="14" name="L-Shape 13">
            <a:extLst>
              <a:ext uri="{FF2B5EF4-FFF2-40B4-BE49-F238E27FC236}">
                <a16:creationId xmlns:a16="http://schemas.microsoft.com/office/drawing/2014/main" id="{549D0F11-E2AC-41DE-A023-F2B3927121D4}"/>
              </a:ext>
            </a:extLst>
          </p:cNvPr>
          <p:cNvSpPr/>
          <p:nvPr/>
        </p:nvSpPr>
        <p:spPr bwMode="auto">
          <a:xfrm rot="13500000">
            <a:off x="564578" y="3172211"/>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5" name="L-Shape 14">
            <a:extLst>
              <a:ext uri="{FF2B5EF4-FFF2-40B4-BE49-F238E27FC236}">
                <a16:creationId xmlns:a16="http://schemas.microsoft.com/office/drawing/2014/main" id="{F469908F-8D8E-4566-8BD9-CA0FCA3512F0}"/>
              </a:ext>
            </a:extLst>
          </p:cNvPr>
          <p:cNvSpPr/>
          <p:nvPr/>
        </p:nvSpPr>
        <p:spPr bwMode="auto">
          <a:xfrm rot="13500000">
            <a:off x="564578" y="3875111"/>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2C6DDA52-43C9-4741-87A5-C7332F5E5576}"/>
              </a:ext>
            </a:extLst>
          </p:cNvPr>
          <p:cNvPicPr>
            <a:picLocks noChangeAspect="1"/>
          </p:cNvPicPr>
          <p:nvPr/>
        </p:nvPicPr>
        <p:blipFill rotWithShape="1">
          <a:blip r:embed="rId3"/>
          <a:srcRect t="-1" r="922" b="20417"/>
          <a:stretch/>
        </p:blipFill>
        <p:spPr>
          <a:xfrm>
            <a:off x="4517162" y="2114454"/>
            <a:ext cx="7183050" cy="4050279"/>
          </a:xfrm>
          <a:prstGeom prst="rect">
            <a:avLst/>
          </a:prstGeom>
          <a:effectLst>
            <a:innerShdw blurRad="266700" dist="50800" dir="13500000">
              <a:prstClr val="black">
                <a:alpha val="58000"/>
              </a:prstClr>
            </a:innerShdw>
          </a:effectLst>
        </p:spPr>
      </p:pic>
    </p:spTree>
    <p:extLst>
      <p:ext uri="{BB962C8B-B14F-4D97-AF65-F5344CB8AC3E}">
        <p14:creationId xmlns:p14="http://schemas.microsoft.com/office/powerpoint/2010/main" val="113235882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BBCC2F-A72A-4C83-B55B-854D4744619E}"/>
              </a:ext>
            </a:extLst>
          </p:cNvPr>
          <p:cNvSpPr>
            <a:spLocks noGrp="1"/>
          </p:cNvSpPr>
          <p:nvPr>
            <p:ph type="title"/>
          </p:nvPr>
        </p:nvSpPr>
        <p:spPr/>
        <p:txBody>
          <a:bodyPr/>
          <a:lstStyle/>
          <a:p>
            <a:r>
              <a:rPr lang="en-US" dirty="0"/>
              <a:t>Intelligent Detection &amp;  Response</a:t>
            </a:r>
            <a:endParaRPr lang="en-IN" dirty="0"/>
          </a:p>
        </p:txBody>
      </p:sp>
      <p:sp>
        <p:nvSpPr>
          <p:cNvPr id="5" name="Text Placeholder 4">
            <a:extLst>
              <a:ext uri="{FF2B5EF4-FFF2-40B4-BE49-F238E27FC236}">
                <a16:creationId xmlns:a16="http://schemas.microsoft.com/office/drawing/2014/main" id="{309F469F-455A-45B1-A682-1C40A1BBBC5A}"/>
              </a:ext>
            </a:extLst>
          </p:cNvPr>
          <p:cNvSpPr>
            <a:spLocks noGrp="1"/>
          </p:cNvSpPr>
          <p:nvPr>
            <p:ph type="body" idx="1"/>
          </p:nvPr>
        </p:nvSpPr>
        <p:spPr/>
        <p:txBody>
          <a:bodyPr/>
          <a:lstStyle/>
          <a:p>
            <a:r>
              <a:rPr lang="en-US" dirty="0"/>
              <a:t>Azure Security Center</a:t>
            </a:r>
            <a:endParaRPr lang="en-IN" dirty="0"/>
          </a:p>
        </p:txBody>
      </p:sp>
    </p:spTree>
    <p:extLst>
      <p:ext uri="{BB962C8B-B14F-4D97-AF65-F5344CB8AC3E}">
        <p14:creationId xmlns:p14="http://schemas.microsoft.com/office/powerpoint/2010/main" val="370135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p:cNvGrpSpPr/>
          <p:nvPr/>
        </p:nvGrpSpPr>
        <p:grpSpPr>
          <a:xfrm>
            <a:off x="11099330" y="321705"/>
            <a:ext cx="776189" cy="776902"/>
            <a:chOff x="9688334" y="2466549"/>
            <a:chExt cx="1397705" cy="1398989"/>
          </a:xfrm>
          <a:solidFill>
            <a:schemeClr val="bg1"/>
          </a:solidFill>
        </p:grpSpPr>
        <p:sp>
          <p:nvSpPr>
            <p:cNvPr id="89" name="Freeform 14"/>
            <p:cNvSpPr>
              <a:spLocks/>
            </p:cNvSpPr>
            <p:nvPr/>
          </p:nvSpPr>
          <p:spPr bwMode="auto">
            <a:xfrm>
              <a:off x="10354458" y="2466549"/>
              <a:ext cx="639171" cy="627620"/>
            </a:xfrm>
            <a:custGeom>
              <a:avLst/>
              <a:gdLst>
                <a:gd name="T0" fmla="*/ 24 w 243"/>
                <a:gd name="T1" fmla="*/ 57 h 238"/>
                <a:gd name="T2" fmla="*/ 219 w 243"/>
                <a:gd name="T3" fmla="*/ 236 h 238"/>
                <a:gd name="T4" fmla="*/ 219 w 243"/>
                <a:gd name="T5" fmla="*/ 238 h 238"/>
                <a:gd name="T6" fmla="*/ 243 w 243"/>
                <a:gd name="T7" fmla="*/ 238 h 238"/>
                <a:gd name="T8" fmla="*/ 243 w 243"/>
                <a:gd name="T9" fmla="*/ 236 h 238"/>
                <a:gd name="T10" fmla="*/ 24 w 243"/>
                <a:gd name="T11" fmla="*/ 33 h 238"/>
                <a:gd name="T12" fmla="*/ 24 w 243"/>
                <a:gd name="T13" fmla="*/ 0 h 238"/>
                <a:gd name="T14" fmla="*/ 0 w 243"/>
                <a:gd name="T15" fmla="*/ 0 h 238"/>
                <a:gd name="T16" fmla="*/ 0 w 243"/>
                <a:gd name="T17" fmla="*/ 91 h 238"/>
                <a:gd name="T18" fmla="*/ 24 w 243"/>
                <a:gd name="T19" fmla="*/ 91 h 238"/>
                <a:gd name="T20" fmla="*/ 24 w 243"/>
                <a:gd name="T21" fmla="*/ 5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238">
                  <a:moveTo>
                    <a:pt x="24" y="57"/>
                  </a:moveTo>
                  <a:cubicBezTo>
                    <a:pt x="123" y="63"/>
                    <a:pt x="205" y="138"/>
                    <a:pt x="219" y="236"/>
                  </a:cubicBezTo>
                  <a:cubicBezTo>
                    <a:pt x="219" y="238"/>
                    <a:pt x="219" y="238"/>
                    <a:pt x="219" y="238"/>
                  </a:cubicBezTo>
                  <a:cubicBezTo>
                    <a:pt x="243" y="238"/>
                    <a:pt x="243" y="238"/>
                    <a:pt x="243" y="238"/>
                  </a:cubicBezTo>
                  <a:cubicBezTo>
                    <a:pt x="243" y="236"/>
                    <a:pt x="243" y="236"/>
                    <a:pt x="243" y="236"/>
                  </a:cubicBezTo>
                  <a:cubicBezTo>
                    <a:pt x="229" y="124"/>
                    <a:pt x="137" y="39"/>
                    <a:pt x="24" y="33"/>
                  </a:cubicBezTo>
                  <a:cubicBezTo>
                    <a:pt x="24" y="0"/>
                    <a:pt x="24" y="0"/>
                    <a:pt x="24" y="0"/>
                  </a:cubicBezTo>
                  <a:cubicBezTo>
                    <a:pt x="0" y="0"/>
                    <a:pt x="0" y="0"/>
                    <a:pt x="0" y="0"/>
                  </a:cubicBezTo>
                  <a:cubicBezTo>
                    <a:pt x="0" y="91"/>
                    <a:pt x="0" y="91"/>
                    <a:pt x="0" y="91"/>
                  </a:cubicBezTo>
                  <a:cubicBezTo>
                    <a:pt x="24" y="91"/>
                    <a:pt x="24" y="91"/>
                    <a:pt x="24" y="91"/>
                  </a:cubicBezTo>
                  <a:lnTo>
                    <a:pt x="2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92" name="Freeform 15"/>
            <p:cNvSpPr>
              <a:spLocks/>
            </p:cNvSpPr>
            <p:nvPr/>
          </p:nvSpPr>
          <p:spPr bwMode="auto">
            <a:xfrm>
              <a:off x="9780744" y="3241769"/>
              <a:ext cx="636604" cy="623769"/>
            </a:xfrm>
            <a:custGeom>
              <a:avLst/>
              <a:gdLst>
                <a:gd name="T0" fmla="*/ 218 w 242"/>
                <a:gd name="T1" fmla="*/ 180 h 237"/>
                <a:gd name="T2" fmla="*/ 24 w 242"/>
                <a:gd name="T3" fmla="*/ 1 h 237"/>
                <a:gd name="T4" fmla="*/ 24 w 242"/>
                <a:gd name="T5" fmla="*/ 0 h 237"/>
                <a:gd name="T6" fmla="*/ 0 w 242"/>
                <a:gd name="T7" fmla="*/ 0 h 237"/>
                <a:gd name="T8" fmla="*/ 0 w 242"/>
                <a:gd name="T9" fmla="*/ 2 h 237"/>
                <a:gd name="T10" fmla="*/ 218 w 242"/>
                <a:gd name="T11" fmla="*/ 204 h 237"/>
                <a:gd name="T12" fmla="*/ 218 w 242"/>
                <a:gd name="T13" fmla="*/ 237 h 237"/>
                <a:gd name="T14" fmla="*/ 242 w 242"/>
                <a:gd name="T15" fmla="*/ 237 h 237"/>
                <a:gd name="T16" fmla="*/ 242 w 242"/>
                <a:gd name="T17" fmla="*/ 146 h 237"/>
                <a:gd name="T18" fmla="*/ 218 w 242"/>
                <a:gd name="T19" fmla="*/ 146 h 237"/>
                <a:gd name="T20" fmla="*/ 218 w 242"/>
                <a:gd name="T21" fmla="*/ 18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237">
                  <a:moveTo>
                    <a:pt x="218" y="180"/>
                  </a:moveTo>
                  <a:cubicBezTo>
                    <a:pt x="120" y="174"/>
                    <a:pt x="38" y="99"/>
                    <a:pt x="24" y="1"/>
                  </a:cubicBezTo>
                  <a:cubicBezTo>
                    <a:pt x="24" y="0"/>
                    <a:pt x="24" y="0"/>
                    <a:pt x="24" y="0"/>
                  </a:cubicBezTo>
                  <a:cubicBezTo>
                    <a:pt x="0" y="0"/>
                    <a:pt x="0" y="0"/>
                    <a:pt x="0" y="0"/>
                  </a:cubicBezTo>
                  <a:cubicBezTo>
                    <a:pt x="0" y="2"/>
                    <a:pt x="0" y="2"/>
                    <a:pt x="0" y="2"/>
                  </a:cubicBezTo>
                  <a:cubicBezTo>
                    <a:pt x="15" y="113"/>
                    <a:pt x="106" y="198"/>
                    <a:pt x="218" y="204"/>
                  </a:cubicBezTo>
                  <a:cubicBezTo>
                    <a:pt x="218" y="237"/>
                    <a:pt x="218" y="237"/>
                    <a:pt x="218" y="237"/>
                  </a:cubicBezTo>
                  <a:cubicBezTo>
                    <a:pt x="242" y="237"/>
                    <a:pt x="242" y="237"/>
                    <a:pt x="242" y="237"/>
                  </a:cubicBezTo>
                  <a:cubicBezTo>
                    <a:pt x="242" y="146"/>
                    <a:pt x="242" y="146"/>
                    <a:pt x="242" y="146"/>
                  </a:cubicBezTo>
                  <a:cubicBezTo>
                    <a:pt x="218" y="146"/>
                    <a:pt x="218" y="146"/>
                    <a:pt x="218" y="146"/>
                  </a:cubicBezTo>
                  <a:lnTo>
                    <a:pt x="218"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93" name="Freeform 16"/>
            <p:cNvSpPr>
              <a:spLocks/>
            </p:cNvSpPr>
            <p:nvPr/>
          </p:nvSpPr>
          <p:spPr bwMode="auto">
            <a:xfrm>
              <a:off x="10459703" y="3135240"/>
              <a:ext cx="626336" cy="637888"/>
            </a:xfrm>
            <a:custGeom>
              <a:avLst/>
              <a:gdLst>
                <a:gd name="T0" fmla="*/ 147 w 238"/>
                <a:gd name="T1" fmla="*/ 0 h 242"/>
                <a:gd name="T2" fmla="*/ 147 w 238"/>
                <a:gd name="T3" fmla="*/ 24 h 242"/>
                <a:gd name="T4" fmla="*/ 181 w 238"/>
                <a:gd name="T5" fmla="*/ 24 h 242"/>
                <a:gd name="T6" fmla="*/ 2 w 238"/>
                <a:gd name="T7" fmla="*/ 218 h 242"/>
                <a:gd name="T8" fmla="*/ 0 w 238"/>
                <a:gd name="T9" fmla="*/ 218 h 242"/>
                <a:gd name="T10" fmla="*/ 0 w 238"/>
                <a:gd name="T11" fmla="*/ 242 h 242"/>
                <a:gd name="T12" fmla="*/ 3 w 238"/>
                <a:gd name="T13" fmla="*/ 242 h 242"/>
                <a:gd name="T14" fmla="*/ 205 w 238"/>
                <a:gd name="T15" fmla="*/ 24 h 242"/>
                <a:gd name="T16" fmla="*/ 238 w 238"/>
                <a:gd name="T17" fmla="*/ 24 h 242"/>
                <a:gd name="T18" fmla="*/ 238 w 238"/>
                <a:gd name="T19" fmla="*/ 0 h 242"/>
                <a:gd name="T20" fmla="*/ 147 w 238"/>
                <a:gd name="T21"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42">
                  <a:moveTo>
                    <a:pt x="147" y="0"/>
                  </a:moveTo>
                  <a:cubicBezTo>
                    <a:pt x="147" y="24"/>
                    <a:pt x="147" y="24"/>
                    <a:pt x="147" y="24"/>
                  </a:cubicBezTo>
                  <a:cubicBezTo>
                    <a:pt x="181" y="24"/>
                    <a:pt x="181" y="24"/>
                    <a:pt x="181" y="24"/>
                  </a:cubicBezTo>
                  <a:cubicBezTo>
                    <a:pt x="175" y="122"/>
                    <a:pt x="100" y="204"/>
                    <a:pt x="2" y="218"/>
                  </a:cubicBezTo>
                  <a:cubicBezTo>
                    <a:pt x="0" y="218"/>
                    <a:pt x="0" y="218"/>
                    <a:pt x="0" y="218"/>
                  </a:cubicBezTo>
                  <a:cubicBezTo>
                    <a:pt x="0" y="242"/>
                    <a:pt x="0" y="242"/>
                    <a:pt x="0" y="242"/>
                  </a:cubicBezTo>
                  <a:cubicBezTo>
                    <a:pt x="3" y="242"/>
                    <a:pt x="3" y="242"/>
                    <a:pt x="3" y="242"/>
                  </a:cubicBezTo>
                  <a:cubicBezTo>
                    <a:pt x="114" y="227"/>
                    <a:pt x="199" y="136"/>
                    <a:pt x="205" y="24"/>
                  </a:cubicBezTo>
                  <a:cubicBezTo>
                    <a:pt x="238" y="24"/>
                    <a:pt x="238" y="24"/>
                    <a:pt x="238" y="24"/>
                  </a:cubicBezTo>
                  <a:cubicBezTo>
                    <a:pt x="238" y="0"/>
                    <a:pt x="238" y="0"/>
                    <a:pt x="238" y="0"/>
                  </a:cubicBez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101" name="Freeform 17"/>
            <p:cNvSpPr>
              <a:spLocks/>
            </p:cNvSpPr>
            <p:nvPr/>
          </p:nvSpPr>
          <p:spPr bwMode="auto">
            <a:xfrm>
              <a:off x="9688334" y="2558959"/>
              <a:ext cx="623769" cy="640455"/>
            </a:xfrm>
            <a:custGeom>
              <a:avLst/>
              <a:gdLst>
                <a:gd name="T0" fmla="*/ 91 w 237"/>
                <a:gd name="T1" fmla="*/ 219 h 243"/>
                <a:gd name="T2" fmla="*/ 57 w 237"/>
                <a:gd name="T3" fmla="*/ 219 h 243"/>
                <a:gd name="T4" fmla="*/ 236 w 237"/>
                <a:gd name="T5" fmla="*/ 24 h 243"/>
                <a:gd name="T6" fmla="*/ 237 w 237"/>
                <a:gd name="T7" fmla="*/ 24 h 243"/>
                <a:gd name="T8" fmla="*/ 237 w 237"/>
                <a:gd name="T9" fmla="*/ 0 h 243"/>
                <a:gd name="T10" fmla="*/ 235 w 237"/>
                <a:gd name="T11" fmla="*/ 0 h 243"/>
                <a:gd name="T12" fmla="*/ 33 w 237"/>
                <a:gd name="T13" fmla="*/ 219 h 243"/>
                <a:gd name="T14" fmla="*/ 0 w 237"/>
                <a:gd name="T15" fmla="*/ 219 h 243"/>
                <a:gd name="T16" fmla="*/ 0 w 237"/>
                <a:gd name="T17" fmla="*/ 243 h 243"/>
                <a:gd name="T18" fmla="*/ 91 w 237"/>
                <a:gd name="T19" fmla="*/ 243 h 243"/>
                <a:gd name="T20" fmla="*/ 91 w 237"/>
                <a:gd name="T21" fmla="*/ 21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243">
                  <a:moveTo>
                    <a:pt x="91" y="219"/>
                  </a:moveTo>
                  <a:cubicBezTo>
                    <a:pt x="57" y="219"/>
                    <a:pt x="57" y="219"/>
                    <a:pt x="57" y="219"/>
                  </a:cubicBezTo>
                  <a:cubicBezTo>
                    <a:pt x="63" y="120"/>
                    <a:pt x="138" y="38"/>
                    <a:pt x="236" y="24"/>
                  </a:cubicBezTo>
                  <a:cubicBezTo>
                    <a:pt x="237" y="24"/>
                    <a:pt x="237" y="24"/>
                    <a:pt x="237" y="24"/>
                  </a:cubicBezTo>
                  <a:cubicBezTo>
                    <a:pt x="237" y="0"/>
                    <a:pt x="237" y="0"/>
                    <a:pt x="237" y="0"/>
                  </a:cubicBezTo>
                  <a:cubicBezTo>
                    <a:pt x="235" y="0"/>
                    <a:pt x="235" y="0"/>
                    <a:pt x="235" y="0"/>
                  </a:cubicBezTo>
                  <a:cubicBezTo>
                    <a:pt x="124" y="15"/>
                    <a:pt x="39" y="106"/>
                    <a:pt x="33" y="219"/>
                  </a:cubicBezTo>
                  <a:cubicBezTo>
                    <a:pt x="0" y="219"/>
                    <a:pt x="0" y="219"/>
                    <a:pt x="0" y="219"/>
                  </a:cubicBezTo>
                  <a:cubicBezTo>
                    <a:pt x="0" y="243"/>
                    <a:pt x="0" y="243"/>
                    <a:pt x="0" y="243"/>
                  </a:cubicBezTo>
                  <a:cubicBezTo>
                    <a:pt x="91" y="243"/>
                    <a:pt x="91" y="243"/>
                    <a:pt x="91" y="243"/>
                  </a:cubicBezTo>
                  <a:lnTo>
                    <a:pt x="91"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102" name="Freeform 18"/>
            <p:cNvSpPr>
              <a:spLocks noEditPoints="1"/>
            </p:cNvSpPr>
            <p:nvPr/>
          </p:nvSpPr>
          <p:spPr bwMode="auto">
            <a:xfrm>
              <a:off x="10038723" y="2774583"/>
              <a:ext cx="723880" cy="432532"/>
            </a:xfrm>
            <a:custGeom>
              <a:avLst/>
              <a:gdLst>
                <a:gd name="T0" fmla="*/ 0 w 275"/>
                <a:gd name="T1" fmla="*/ 68 h 164"/>
                <a:gd name="T2" fmla="*/ 68 w 275"/>
                <a:gd name="T3" fmla="*/ 136 h 164"/>
                <a:gd name="T4" fmla="*/ 77 w 275"/>
                <a:gd name="T5" fmla="*/ 136 h 164"/>
                <a:gd name="T6" fmla="*/ 85 w 275"/>
                <a:gd name="T7" fmla="*/ 164 h 164"/>
                <a:gd name="T8" fmla="*/ 108 w 275"/>
                <a:gd name="T9" fmla="*/ 157 h 164"/>
                <a:gd name="T10" fmla="*/ 99 w 275"/>
                <a:gd name="T11" fmla="*/ 129 h 164"/>
                <a:gd name="T12" fmla="*/ 132 w 275"/>
                <a:gd name="T13" fmla="*/ 93 h 164"/>
                <a:gd name="T14" fmla="*/ 178 w 275"/>
                <a:gd name="T15" fmla="*/ 109 h 164"/>
                <a:gd name="T16" fmla="*/ 178 w 275"/>
                <a:gd name="T17" fmla="*/ 114 h 164"/>
                <a:gd name="T18" fmla="*/ 226 w 275"/>
                <a:gd name="T19" fmla="*/ 163 h 164"/>
                <a:gd name="T20" fmla="*/ 275 w 275"/>
                <a:gd name="T21" fmla="*/ 114 h 164"/>
                <a:gd name="T22" fmla="*/ 226 w 275"/>
                <a:gd name="T23" fmla="*/ 65 h 164"/>
                <a:gd name="T24" fmla="*/ 186 w 275"/>
                <a:gd name="T25" fmla="*/ 86 h 164"/>
                <a:gd name="T26" fmla="*/ 136 w 275"/>
                <a:gd name="T27" fmla="*/ 69 h 164"/>
                <a:gd name="T28" fmla="*/ 136 w 275"/>
                <a:gd name="T29" fmla="*/ 68 h 164"/>
                <a:gd name="T30" fmla="*/ 68 w 275"/>
                <a:gd name="T31" fmla="*/ 0 h 164"/>
                <a:gd name="T32" fmla="*/ 0 w 275"/>
                <a:gd name="T33" fmla="*/ 68 h 164"/>
                <a:gd name="T34" fmla="*/ 68 w 275"/>
                <a:gd name="T35" fmla="*/ 24 h 164"/>
                <a:gd name="T36" fmla="*/ 112 w 275"/>
                <a:gd name="T37" fmla="*/ 68 h 164"/>
                <a:gd name="T38" fmla="*/ 68 w 275"/>
                <a:gd name="T39" fmla="*/ 112 h 164"/>
                <a:gd name="T40" fmla="*/ 24 w 275"/>
                <a:gd name="T41" fmla="*/ 68 h 164"/>
                <a:gd name="T42" fmla="*/ 68 w 275"/>
                <a:gd name="T43" fmla="*/ 24 h 164"/>
                <a:gd name="T44" fmla="*/ 226 w 275"/>
                <a:gd name="T45" fmla="*/ 89 h 164"/>
                <a:gd name="T46" fmla="*/ 251 w 275"/>
                <a:gd name="T47" fmla="*/ 114 h 164"/>
                <a:gd name="T48" fmla="*/ 226 w 275"/>
                <a:gd name="T49" fmla="*/ 139 h 164"/>
                <a:gd name="T50" fmla="*/ 202 w 275"/>
                <a:gd name="T51" fmla="*/ 114 h 164"/>
                <a:gd name="T52" fmla="*/ 226 w 275"/>
                <a:gd name="T53" fmla="*/ 8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5" h="164">
                  <a:moveTo>
                    <a:pt x="0" y="68"/>
                  </a:moveTo>
                  <a:cubicBezTo>
                    <a:pt x="0" y="106"/>
                    <a:pt x="31" y="136"/>
                    <a:pt x="68" y="136"/>
                  </a:cubicBezTo>
                  <a:cubicBezTo>
                    <a:pt x="71" y="136"/>
                    <a:pt x="73" y="136"/>
                    <a:pt x="77" y="136"/>
                  </a:cubicBezTo>
                  <a:cubicBezTo>
                    <a:pt x="85" y="164"/>
                    <a:pt x="85" y="164"/>
                    <a:pt x="85" y="164"/>
                  </a:cubicBezTo>
                  <a:cubicBezTo>
                    <a:pt x="108" y="157"/>
                    <a:pt x="108" y="157"/>
                    <a:pt x="108" y="157"/>
                  </a:cubicBezTo>
                  <a:cubicBezTo>
                    <a:pt x="99" y="129"/>
                    <a:pt x="99" y="129"/>
                    <a:pt x="99" y="129"/>
                  </a:cubicBezTo>
                  <a:cubicBezTo>
                    <a:pt x="114" y="121"/>
                    <a:pt x="126" y="108"/>
                    <a:pt x="132" y="93"/>
                  </a:cubicBezTo>
                  <a:cubicBezTo>
                    <a:pt x="178" y="109"/>
                    <a:pt x="178" y="109"/>
                    <a:pt x="178" y="109"/>
                  </a:cubicBezTo>
                  <a:cubicBezTo>
                    <a:pt x="178" y="111"/>
                    <a:pt x="178" y="113"/>
                    <a:pt x="178" y="114"/>
                  </a:cubicBezTo>
                  <a:cubicBezTo>
                    <a:pt x="178" y="141"/>
                    <a:pt x="199" y="163"/>
                    <a:pt x="226" y="163"/>
                  </a:cubicBezTo>
                  <a:cubicBezTo>
                    <a:pt x="253" y="163"/>
                    <a:pt x="275" y="141"/>
                    <a:pt x="275" y="114"/>
                  </a:cubicBezTo>
                  <a:cubicBezTo>
                    <a:pt x="275" y="87"/>
                    <a:pt x="253" y="65"/>
                    <a:pt x="226" y="65"/>
                  </a:cubicBezTo>
                  <a:cubicBezTo>
                    <a:pt x="210" y="65"/>
                    <a:pt x="196" y="73"/>
                    <a:pt x="186" y="86"/>
                  </a:cubicBezTo>
                  <a:cubicBezTo>
                    <a:pt x="136" y="69"/>
                    <a:pt x="136" y="69"/>
                    <a:pt x="136" y="69"/>
                  </a:cubicBezTo>
                  <a:cubicBezTo>
                    <a:pt x="136" y="69"/>
                    <a:pt x="136" y="69"/>
                    <a:pt x="136" y="68"/>
                  </a:cubicBezTo>
                  <a:cubicBezTo>
                    <a:pt x="136" y="31"/>
                    <a:pt x="106" y="0"/>
                    <a:pt x="68" y="0"/>
                  </a:cubicBezTo>
                  <a:cubicBezTo>
                    <a:pt x="31" y="0"/>
                    <a:pt x="0" y="31"/>
                    <a:pt x="0" y="68"/>
                  </a:cubicBezTo>
                  <a:close/>
                  <a:moveTo>
                    <a:pt x="68" y="24"/>
                  </a:moveTo>
                  <a:cubicBezTo>
                    <a:pt x="93" y="24"/>
                    <a:pt x="112" y="44"/>
                    <a:pt x="112" y="68"/>
                  </a:cubicBezTo>
                  <a:cubicBezTo>
                    <a:pt x="112" y="93"/>
                    <a:pt x="93" y="112"/>
                    <a:pt x="68" y="112"/>
                  </a:cubicBezTo>
                  <a:cubicBezTo>
                    <a:pt x="44" y="112"/>
                    <a:pt x="24" y="93"/>
                    <a:pt x="24" y="68"/>
                  </a:cubicBezTo>
                  <a:cubicBezTo>
                    <a:pt x="24" y="44"/>
                    <a:pt x="44" y="24"/>
                    <a:pt x="68" y="24"/>
                  </a:cubicBezTo>
                  <a:close/>
                  <a:moveTo>
                    <a:pt x="226" y="89"/>
                  </a:moveTo>
                  <a:cubicBezTo>
                    <a:pt x="240" y="89"/>
                    <a:pt x="251" y="101"/>
                    <a:pt x="251" y="114"/>
                  </a:cubicBezTo>
                  <a:cubicBezTo>
                    <a:pt x="251" y="128"/>
                    <a:pt x="240" y="139"/>
                    <a:pt x="226" y="139"/>
                  </a:cubicBezTo>
                  <a:cubicBezTo>
                    <a:pt x="213" y="139"/>
                    <a:pt x="202" y="128"/>
                    <a:pt x="202" y="114"/>
                  </a:cubicBezTo>
                  <a:cubicBezTo>
                    <a:pt x="202" y="101"/>
                    <a:pt x="213" y="89"/>
                    <a:pt x="22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103" name="Freeform 19"/>
            <p:cNvSpPr>
              <a:spLocks noEditPoints="1"/>
            </p:cNvSpPr>
            <p:nvPr/>
          </p:nvSpPr>
          <p:spPr bwMode="auto">
            <a:xfrm>
              <a:off x="10186323" y="3172461"/>
              <a:ext cx="365790" cy="382476"/>
            </a:xfrm>
            <a:custGeom>
              <a:avLst/>
              <a:gdLst>
                <a:gd name="T0" fmla="*/ 121 w 139"/>
                <a:gd name="T1" fmla="*/ 0 h 145"/>
                <a:gd name="T2" fmla="*/ 96 w 139"/>
                <a:gd name="T3" fmla="*/ 27 h 145"/>
                <a:gd name="T4" fmla="*/ 63 w 139"/>
                <a:gd name="T5" fmla="*/ 18 h 145"/>
                <a:gd name="T6" fmla="*/ 0 w 139"/>
                <a:gd name="T7" fmla="*/ 81 h 145"/>
                <a:gd name="T8" fmla="*/ 63 w 139"/>
                <a:gd name="T9" fmla="*/ 145 h 145"/>
                <a:gd name="T10" fmla="*/ 126 w 139"/>
                <a:gd name="T11" fmla="*/ 81 h 145"/>
                <a:gd name="T12" fmla="*/ 114 w 139"/>
                <a:gd name="T13" fmla="*/ 44 h 145"/>
                <a:gd name="T14" fmla="*/ 139 w 139"/>
                <a:gd name="T15" fmla="*/ 16 h 145"/>
                <a:gd name="T16" fmla="*/ 121 w 139"/>
                <a:gd name="T17" fmla="*/ 0 h 145"/>
                <a:gd name="T18" fmla="*/ 63 w 139"/>
                <a:gd name="T19" fmla="*/ 121 h 145"/>
                <a:gd name="T20" fmla="*/ 24 w 139"/>
                <a:gd name="T21" fmla="*/ 81 h 145"/>
                <a:gd name="T22" fmla="*/ 63 w 139"/>
                <a:gd name="T23" fmla="*/ 42 h 145"/>
                <a:gd name="T24" fmla="*/ 102 w 139"/>
                <a:gd name="T25" fmla="*/ 81 h 145"/>
                <a:gd name="T26" fmla="*/ 63 w 139"/>
                <a:gd name="T27" fmla="*/ 12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45">
                  <a:moveTo>
                    <a:pt x="121" y="0"/>
                  </a:moveTo>
                  <a:cubicBezTo>
                    <a:pt x="96" y="27"/>
                    <a:pt x="96" y="27"/>
                    <a:pt x="96" y="27"/>
                  </a:cubicBezTo>
                  <a:cubicBezTo>
                    <a:pt x="86" y="21"/>
                    <a:pt x="75" y="18"/>
                    <a:pt x="63" y="18"/>
                  </a:cubicBezTo>
                  <a:cubicBezTo>
                    <a:pt x="28" y="18"/>
                    <a:pt x="0" y="46"/>
                    <a:pt x="0" y="81"/>
                  </a:cubicBezTo>
                  <a:cubicBezTo>
                    <a:pt x="0" y="116"/>
                    <a:pt x="28" y="145"/>
                    <a:pt x="63" y="145"/>
                  </a:cubicBezTo>
                  <a:cubicBezTo>
                    <a:pt x="98" y="145"/>
                    <a:pt x="126" y="116"/>
                    <a:pt x="126" y="81"/>
                  </a:cubicBezTo>
                  <a:cubicBezTo>
                    <a:pt x="126" y="68"/>
                    <a:pt x="122" y="55"/>
                    <a:pt x="114" y="44"/>
                  </a:cubicBezTo>
                  <a:cubicBezTo>
                    <a:pt x="139" y="16"/>
                    <a:pt x="139" y="16"/>
                    <a:pt x="139" y="16"/>
                  </a:cubicBezTo>
                  <a:lnTo>
                    <a:pt x="121" y="0"/>
                  </a:lnTo>
                  <a:close/>
                  <a:moveTo>
                    <a:pt x="63" y="121"/>
                  </a:moveTo>
                  <a:cubicBezTo>
                    <a:pt x="41" y="121"/>
                    <a:pt x="24" y="103"/>
                    <a:pt x="24" y="81"/>
                  </a:cubicBezTo>
                  <a:cubicBezTo>
                    <a:pt x="24" y="60"/>
                    <a:pt x="41" y="42"/>
                    <a:pt x="63" y="42"/>
                  </a:cubicBezTo>
                  <a:cubicBezTo>
                    <a:pt x="85" y="42"/>
                    <a:pt x="102" y="60"/>
                    <a:pt x="102" y="81"/>
                  </a:cubicBezTo>
                  <a:cubicBezTo>
                    <a:pt x="102" y="103"/>
                    <a:pt x="85" y="121"/>
                    <a:pt x="63"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grpSp>
      <p:sp>
        <p:nvSpPr>
          <p:cNvPr id="3" name="Title 2"/>
          <p:cNvSpPr>
            <a:spLocks noGrp="1"/>
          </p:cNvSpPr>
          <p:nvPr>
            <p:ph type="title"/>
          </p:nvPr>
        </p:nvSpPr>
        <p:spPr>
          <a:xfrm>
            <a:off x="95981" y="111699"/>
            <a:ext cx="8116295" cy="899537"/>
          </a:xfrm>
        </p:spPr>
        <p:txBody>
          <a:bodyPr/>
          <a:lstStyle/>
          <a:p>
            <a:r>
              <a:rPr lang="en-US" dirty="0">
                <a:solidFill>
                  <a:srgbClr val="004BBB"/>
                </a:solidFill>
              </a:rPr>
              <a:t>Built-in intelligence and advanced analytics</a:t>
            </a:r>
          </a:p>
        </p:txBody>
      </p:sp>
      <p:sp>
        <p:nvSpPr>
          <p:cNvPr id="4" name="TextBox 3">
            <a:extLst>
              <a:ext uri="{FF2B5EF4-FFF2-40B4-BE49-F238E27FC236}">
                <a16:creationId xmlns:a16="http://schemas.microsoft.com/office/drawing/2014/main" id="{164AD5A0-0B24-42FC-9E28-F34E10B5EF5D}"/>
              </a:ext>
            </a:extLst>
          </p:cNvPr>
          <p:cNvSpPr txBox="1"/>
          <p:nvPr/>
        </p:nvSpPr>
        <p:spPr>
          <a:xfrm>
            <a:off x="1016472" y="5945718"/>
            <a:ext cx="3256532" cy="778454"/>
          </a:xfrm>
          <a:prstGeom prst="rect">
            <a:avLst/>
          </a:prstGeom>
          <a:noFill/>
        </p:spPr>
        <p:txBody>
          <a:bodyPr wrap="square" lIns="179285" tIns="143428" rIns="179285" bIns="143428" rtlCol="0">
            <a:spAutoFit/>
          </a:bodyPr>
          <a:lstStyle/>
          <a:p>
            <a:pPr>
              <a:lnSpc>
                <a:spcPct val="90000"/>
              </a:lnSpc>
              <a:spcAft>
                <a:spcPts val="588"/>
              </a:spcAft>
            </a:pPr>
            <a:r>
              <a:rPr lang="en-US" sz="1765" dirty="0">
                <a:solidFill>
                  <a:srgbClr val="004BBB"/>
                </a:solidFill>
              </a:rPr>
              <a:t>Powered by Microsoft Intelligent Security Graph</a:t>
            </a:r>
          </a:p>
        </p:txBody>
      </p:sp>
      <p:grpSp>
        <p:nvGrpSpPr>
          <p:cNvPr id="74" name="Group 73"/>
          <p:cNvGrpSpPr/>
          <p:nvPr/>
        </p:nvGrpSpPr>
        <p:grpSpPr>
          <a:xfrm>
            <a:off x="343453" y="5889414"/>
            <a:ext cx="705159" cy="684365"/>
            <a:chOff x="4875213" y="-3235325"/>
            <a:chExt cx="3014662" cy="2925762"/>
          </a:xfrm>
          <a:solidFill>
            <a:schemeClr val="bg1"/>
          </a:solidFill>
        </p:grpSpPr>
        <p:sp>
          <p:nvSpPr>
            <p:cNvPr id="75" name="Freeform 5"/>
            <p:cNvSpPr>
              <a:spLocks noEditPoints="1"/>
            </p:cNvSpPr>
            <p:nvPr/>
          </p:nvSpPr>
          <p:spPr bwMode="auto">
            <a:xfrm>
              <a:off x="5629275" y="-3235325"/>
              <a:ext cx="509587" cy="511175"/>
            </a:xfrm>
            <a:custGeom>
              <a:avLst/>
              <a:gdLst>
                <a:gd name="T0" fmla="*/ 27 w 157"/>
                <a:gd name="T1" fmla="*/ 137 h 157"/>
                <a:gd name="T2" fmla="*/ 26 w 157"/>
                <a:gd name="T3" fmla="*/ 139 h 157"/>
                <a:gd name="T4" fmla="*/ 49 w 157"/>
                <a:gd name="T5" fmla="*/ 153 h 157"/>
                <a:gd name="T6" fmla="*/ 50 w 157"/>
                <a:gd name="T7" fmla="*/ 151 h 157"/>
                <a:gd name="T8" fmla="*/ 67 w 157"/>
                <a:gd name="T9" fmla="*/ 156 h 157"/>
                <a:gd name="T10" fmla="*/ 67 w 157"/>
                <a:gd name="T11" fmla="*/ 157 h 157"/>
                <a:gd name="T12" fmla="*/ 94 w 157"/>
                <a:gd name="T13" fmla="*/ 157 h 157"/>
                <a:gd name="T14" fmla="*/ 93 w 157"/>
                <a:gd name="T15" fmla="*/ 156 h 157"/>
                <a:gd name="T16" fmla="*/ 115 w 157"/>
                <a:gd name="T17" fmla="*/ 148 h 157"/>
                <a:gd name="T18" fmla="*/ 116 w 157"/>
                <a:gd name="T19" fmla="*/ 149 h 157"/>
                <a:gd name="T20" fmla="*/ 137 w 157"/>
                <a:gd name="T21" fmla="*/ 132 h 157"/>
                <a:gd name="T22" fmla="*/ 136 w 157"/>
                <a:gd name="T23" fmla="*/ 131 h 157"/>
                <a:gd name="T24" fmla="*/ 157 w 157"/>
                <a:gd name="T25" fmla="*/ 79 h 157"/>
                <a:gd name="T26" fmla="*/ 78 w 157"/>
                <a:gd name="T27" fmla="*/ 0 h 157"/>
                <a:gd name="T28" fmla="*/ 0 w 157"/>
                <a:gd name="T29" fmla="*/ 79 h 157"/>
                <a:gd name="T30" fmla="*/ 27 w 157"/>
                <a:gd name="T31" fmla="*/ 137 h 157"/>
                <a:gd name="T32" fmla="*/ 78 w 157"/>
                <a:gd name="T33" fmla="*/ 27 h 157"/>
                <a:gd name="T34" fmla="*/ 130 w 157"/>
                <a:gd name="T35" fmla="*/ 79 h 157"/>
                <a:gd name="T36" fmla="*/ 78 w 157"/>
                <a:gd name="T37" fmla="*/ 130 h 157"/>
                <a:gd name="T38" fmla="*/ 27 w 157"/>
                <a:gd name="T39" fmla="*/ 79 h 157"/>
                <a:gd name="T40" fmla="*/ 78 w 157"/>
                <a:gd name="T41" fmla="*/ 2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7" h="157">
                  <a:moveTo>
                    <a:pt x="27" y="137"/>
                  </a:moveTo>
                  <a:cubicBezTo>
                    <a:pt x="26" y="139"/>
                    <a:pt x="26" y="139"/>
                    <a:pt x="26" y="139"/>
                  </a:cubicBezTo>
                  <a:cubicBezTo>
                    <a:pt x="49" y="153"/>
                    <a:pt x="49" y="153"/>
                    <a:pt x="49" y="153"/>
                  </a:cubicBezTo>
                  <a:cubicBezTo>
                    <a:pt x="50" y="151"/>
                    <a:pt x="50" y="151"/>
                    <a:pt x="50" y="151"/>
                  </a:cubicBezTo>
                  <a:cubicBezTo>
                    <a:pt x="55" y="154"/>
                    <a:pt x="61" y="155"/>
                    <a:pt x="67" y="156"/>
                  </a:cubicBezTo>
                  <a:cubicBezTo>
                    <a:pt x="67" y="157"/>
                    <a:pt x="67" y="157"/>
                    <a:pt x="67" y="157"/>
                  </a:cubicBezTo>
                  <a:cubicBezTo>
                    <a:pt x="94" y="157"/>
                    <a:pt x="94" y="157"/>
                    <a:pt x="94" y="157"/>
                  </a:cubicBezTo>
                  <a:cubicBezTo>
                    <a:pt x="93" y="156"/>
                    <a:pt x="93" y="156"/>
                    <a:pt x="93" y="156"/>
                  </a:cubicBezTo>
                  <a:cubicBezTo>
                    <a:pt x="101" y="154"/>
                    <a:pt x="108" y="151"/>
                    <a:pt x="115" y="148"/>
                  </a:cubicBezTo>
                  <a:cubicBezTo>
                    <a:pt x="116" y="149"/>
                    <a:pt x="116" y="149"/>
                    <a:pt x="116" y="149"/>
                  </a:cubicBezTo>
                  <a:cubicBezTo>
                    <a:pt x="137" y="132"/>
                    <a:pt x="137" y="132"/>
                    <a:pt x="137" y="132"/>
                  </a:cubicBezTo>
                  <a:cubicBezTo>
                    <a:pt x="136" y="131"/>
                    <a:pt x="136" y="131"/>
                    <a:pt x="136" y="131"/>
                  </a:cubicBezTo>
                  <a:cubicBezTo>
                    <a:pt x="149" y="117"/>
                    <a:pt x="157" y="99"/>
                    <a:pt x="157" y="79"/>
                  </a:cubicBezTo>
                  <a:cubicBezTo>
                    <a:pt x="157" y="36"/>
                    <a:pt x="122" y="0"/>
                    <a:pt x="78" y="0"/>
                  </a:cubicBezTo>
                  <a:cubicBezTo>
                    <a:pt x="35" y="0"/>
                    <a:pt x="0" y="36"/>
                    <a:pt x="0" y="79"/>
                  </a:cubicBezTo>
                  <a:cubicBezTo>
                    <a:pt x="0" y="102"/>
                    <a:pt x="10" y="123"/>
                    <a:pt x="27" y="137"/>
                  </a:cubicBezTo>
                  <a:close/>
                  <a:moveTo>
                    <a:pt x="78" y="27"/>
                  </a:moveTo>
                  <a:cubicBezTo>
                    <a:pt x="107" y="27"/>
                    <a:pt x="130" y="50"/>
                    <a:pt x="130" y="79"/>
                  </a:cubicBezTo>
                  <a:cubicBezTo>
                    <a:pt x="130" y="107"/>
                    <a:pt x="107" y="130"/>
                    <a:pt x="78" y="130"/>
                  </a:cubicBezTo>
                  <a:cubicBezTo>
                    <a:pt x="50" y="130"/>
                    <a:pt x="27" y="107"/>
                    <a:pt x="27" y="79"/>
                  </a:cubicBezTo>
                  <a:cubicBezTo>
                    <a:pt x="27" y="50"/>
                    <a:pt x="50" y="27"/>
                    <a:pt x="78"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76" name="Freeform 6"/>
            <p:cNvSpPr>
              <a:spLocks/>
            </p:cNvSpPr>
            <p:nvPr/>
          </p:nvSpPr>
          <p:spPr bwMode="auto">
            <a:xfrm>
              <a:off x="6811963" y="-1771650"/>
              <a:ext cx="133350" cy="133350"/>
            </a:xfrm>
            <a:custGeom>
              <a:avLst/>
              <a:gdLst>
                <a:gd name="T0" fmla="*/ 41 w 84"/>
                <a:gd name="T1" fmla="*/ 84 h 84"/>
                <a:gd name="T2" fmla="*/ 84 w 84"/>
                <a:gd name="T3" fmla="*/ 49 h 84"/>
                <a:gd name="T4" fmla="*/ 45 w 84"/>
                <a:gd name="T5" fmla="*/ 0 h 84"/>
                <a:gd name="T6" fmla="*/ 0 w 84"/>
                <a:gd name="T7" fmla="*/ 32 h 84"/>
                <a:gd name="T8" fmla="*/ 41 w 84"/>
                <a:gd name="T9" fmla="*/ 84 h 84"/>
              </a:gdLst>
              <a:ahLst/>
              <a:cxnLst>
                <a:cxn ang="0">
                  <a:pos x="T0" y="T1"/>
                </a:cxn>
                <a:cxn ang="0">
                  <a:pos x="T2" y="T3"/>
                </a:cxn>
                <a:cxn ang="0">
                  <a:pos x="T4" y="T5"/>
                </a:cxn>
                <a:cxn ang="0">
                  <a:pos x="T6" y="T7"/>
                </a:cxn>
                <a:cxn ang="0">
                  <a:pos x="T8" y="T9"/>
                </a:cxn>
              </a:cxnLst>
              <a:rect l="0" t="0" r="r" b="b"/>
              <a:pathLst>
                <a:path w="84" h="84">
                  <a:moveTo>
                    <a:pt x="41" y="84"/>
                  </a:moveTo>
                  <a:lnTo>
                    <a:pt x="84" y="49"/>
                  </a:lnTo>
                  <a:lnTo>
                    <a:pt x="45" y="0"/>
                  </a:lnTo>
                  <a:lnTo>
                    <a:pt x="0" y="32"/>
                  </a:lnTo>
                  <a:lnTo>
                    <a:pt x="4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77" name="Freeform 7"/>
            <p:cNvSpPr>
              <a:spLocks/>
            </p:cNvSpPr>
            <p:nvPr/>
          </p:nvSpPr>
          <p:spPr bwMode="auto">
            <a:xfrm>
              <a:off x="6688138" y="-1931988"/>
              <a:ext cx="130175" cy="133350"/>
            </a:xfrm>
            <a:custGeom>
              <a:avLst/>
              <a:gdLst>
                <a:gd name="T0" fmla="*/ 43 w 82"/>
                <a:gd name="T1" fmla="*/ 0 h 84"/>
                <a:gd name="T2" fmla="*/ 0 w 82"/>
                <a:gd name="T3" fmla="*/ 33 h 84"/>
                <a:gd name="T4" fmla="*/ 39 w 82"/>
                <a:gd name="T5" fmla="*/ 84 h 84"/>
                <a:gd name="T6" fmla="*/ 82 w 82"/>
                <a:gd name="T7" fmla="*/ 49 h 84"/>
                <a:gd name="T8" fmla="*/ 43 w 82"/>
                <a:gd name="T9" fmla="*/ 0 h 84"/>
              </a:gdLst>
              <a:ahLst/>
              <a:cxnLst>
                <a:cxn ang="0">
                  <a:pos x="T0" y="T1"/>
                </a:cxn>
                <a:cxn ang="0">
                  <a:pos x="T2" y="T3"/>
                </a:cxn>
                <a:cxn ang="0">
                  <a:pos x="T4" y="T5"/>
                </a:cxn>
                <a:cxn ang="0">
                  <a:pos x="T6" y="T7"/>
                </a:cxn>
                <a:cxn ang="0">
                  <a:pos x="T8" y="T9"/>
                </a:cxn>
              </a:cxnLst>
              <a:rect l="0" t="0" r="r" b="b"/>
              <a:pathLst>
                <a:path w="82" h="84">
                  <a:moveTo>
                    <a:pt x="43" y="0"/>
                  </a:moveTo>
                  <a:lnTo>
                    <a:pt x="0" y="33"/>
                  </a:lnTo>
                  <a:lnTo>
                    <a:pt x="39" y="84"/>
                  </a:lnTo>
                  <a:lnTo>
                    <a:pt x="82" y="49"/>
                  </a:ln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78" name="Freeform 8"/>
            <p:cNvSpPr>
              <a:spLocks/>
            </p:cNvSpPr>
            <p:nvPr/>
          </p:nvSpPr>
          <p:spPr bwMode="auto">
            <a:xfrm>
              <a:off x="6061075" y="-2735263"/>
              <a:ext cx="127000" cy="127000"/>
            </a:xfrm>
            <a:custGeom>
              <a:avLst/>
              <a:gdLst>
                <a:gd name="T0" fmla="*/ 0 w 80"/>
                <a:gd name="T1" fmla="*/ 35 h 80"/>
                <a:gd name="T2" fmla="*/ 35 w 80"/>
                <a:gd name="T3" fmla="*/ 80 h 80"/>
                <a:gd name="T4" fmla="*/ 80 w 80"/>
                <a:gd name="T5" fmla="*/ 45 h 80"/>
                <a:gd name="T6" fmla="*/ 43 w 80"/>
                <a:gd name="T7" fmla="*/ 0 h 80"/>
                <a:gd name="T8" fmla="*/ 0 w 80"/>
                <a:gd name="T9" fmla="*/ 35 h 80"/>
              </a:gdLst>
              <a:ahLst/>
              <a:cxnLst>
                <a:cxn ang="0">
                  <a:pos x="T0" y="T1"/>
                </a:cxn>
                <a:cxn ang="0">
                  <a:pos x="T2" y="T3"/>
                </a:cxn>
                <a:cxn ang="0">
                  <a:pos x="T4" y="T5"/>
                </a:cxn>
                <a:cxn ang="0">
                  <a:pos x="T6" y="T7"/>
                </a:cxn>
                <a:cxn ang="0">
                  <a:pos x="T8" y="T9"/>
                </a:cxn>
              </a:cxnLst>
              <a:rect l="0" t="0" r="r" b="b"/>
              <a:pathLst>
                <a:path w="80" h="80">
                  <a:moveTo>
                    <a:pt x="0" y="35"/>
                  </a:moveTo>
                  <a:lnTo>
                    <a:pt x="35" y="80"/>
                  </a:lnTo>
                  <a:lnTo>
                    <a:pt x="80" y="45"/>
                  </a:lnTo>
                  <a:lnTo>
                    <a:pt x="43" y="0"/>
                  </a:lnTo>
                  <a:lnTo>
                    <a:pt x="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79" name="Freeform 9"/>
            <p:cNvSpPr>
              <a:spLocks noEditPoints="1"/>
            </p:cNvSpPr>
            <p:nvPr/>
          </p:nvSpPr>
          <p:spPr bwMode="auto">
            <a:xfrm>
              <a:off x="6067425" y="-2643188"/>
              <a:ext cx="735012" cy="735012"/>
            </a:xfrm>
            <a:custGeom>
              <a:avLst/>
              <a:gdLst>
                <a:gd name="T0" fmla="*/ 33 w 226"/>
                <a:gd name="T1" fmla="*/ 33 h 226"/>
                <a:gd name="T2" fmla="*/ 33 w 226"/>
                <a:gd name="T3" fmla="*/ 33 h 226"/>
                <a:gd name="T4" fmla="*/ 0 w 226"/>
                <a:gd name="T5" fmla="*/ 113 h 226"/>
                <a:gd name="T6" fmla="*/ 1 w 226"/>
                <a:gd name="T7" fmla="*/ 131 h 226"/>
                <a:gd name="T8" fmla="*/ 1 w 226"/>
                <a:gd name="T9" fmla="*/ 132 h 226"/>
                <a:gd name="T10" fmla="*/ 8 w 226"/>
                <a:gd name="T11" fmla="*/ 158 h 226"/>
                <a:gd name="T12" fmla="*/ 9 w 226"/>
                <a:gd name="T13" fmla="*/ 157 h 226"/>
                <a:gd name="T14" fmla="*/ 62 w 226"/>
                <a:gd name="T15" fmla="*/ 214 h 226"/>
                <a:gd name="T16" fmla="*/ 62 w 226"/>
                <a:gd name="T17" fmla="*/ 215 h 226"/>
                <a:gd name="T18" fmla="*/ 87 w 226"/>
                <a:gd name="T19" fmla="*/ 224 h 226"/>
                <a:gd name="T20" fmla="*/ 88 w 226"/>
                <a:gd name="T21" fmla="*/ 223 h 226"/>
                <a:gd name="T22" fmla="*/ 113 w 226"/>
                <a:gd name="T23" fmla="*/ 226 h 226"/>
                <a:gd name="T24" fmla="*/ 171 w 226"/>
                <a:gd name="T25" fmla="*/ 210 h 226"/>
                <a:gd name="T26" fmla="*/ 172 w 226"/>
                <a:gd name="T27" fmla="*/ 211 h 226"/>
                <a:gd name="T28" fmla="*/ 193 w 226"/>
                <a:gd name="T29" fmla="*/ 194 h 226"/>
                <a:gd name="T30" fmla="*/ 192 w 226"/>
                <a:gd name="T31" fmla="*/ 193 h 226"/>
                <a:gd name="T32" fmla="*/ 226 w 226"/>
                <a:gd name="T33" fmla="*/ 113 h 226"/>
                <a:gd name="T34" fmla="*/ 113 w 226"/>
                <a:gd name="T35" fmla="*/ 0 h 226"/>
                <a:gd name="T36" fmla="*/ 54 w 226"/>
                <a:gd name="T37" fmla="*/ 17 h 226"/>
                <a:gd name="T38" fmla="*/ 54 w 226"/>
                <a:gd name="T39" fmla="*/ 16 h 226"/>
                <a:gd name="T40" fmla="*/ 33 w 226"/>
                <a:gd name="T41" fmla="*/ 33 h 226"/>
                <a:gd name="T42" fmla="*/ 199 w 226"/>
                <a:gd name="T43" fmla="*/ 113 h 226"/>
                <a:gd name="T44" fmla="*/ 113 w 226"/>
                <a:gd name="T45" fmla="*/ 199 h 226"/>
                <a:gd name="T46" fmla="*/ 27 w 226"/>
                <a:gd name="T47" fmla="*/ 113 h 226"/>
                <a:gd name="T48" fmla="*/ 113 w 226"/>
                <a:gd name="T49" fmla="*/ 27 h 226"/>
                <a:gd name="T50" fmla="*/ 199 w 226"/>
                <a:gd name="T51" fmla="*/ 11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6" h="226">
                  <a:moveTo>
                    <a:pt x="33" y="33"/>
                  </a:moveTo>
                  <a:cubicBezTo>
                    <a:pt x="33" y="33"/>
                    <a:pt x="33" y="33"/>
                    <a:pt x="33" y="33"/>
                  </a:cubicBezTo>
                  <a:cubicBezTo>
                    <a:pt x="13" y="54"/>
                    <a:pt x="0" y="82"/>
                    <a:pt x="0" y="113"/>
                  </a:cubicBezTo>
                  <a:cubicBezTo>
                    <a:pt x="0" y="120"/>
                    <a:pt x="0" y="126"/>
                    <a:pt x="1" y="131"/>
                  </a:cubicBezTo>
                  <a:cubicBezTo>
                    <a:pt x="1" y="132"/>
                    <a:pt x="1" y="132"/>
                    <a:pt x="1" y="132"/>
                  </a:cubicBezTo>
                  <a:cubicBezTo>
                    <a:pt x="8" y="158"/>
                    <a:pt x="8" y="158"/>
                    <a:pt x="8" y="158"/>
                  </a:cubicBezTo>
                  <a:cubicBezTo>
                    <a:pt x="9" y="157"/>
                    <a:pt x="9" y="157"/>
                    <a:pt x="9" y="157"/>
                  </a:cubicBezTo>
                  <a:cubicBezTo>
                    <a:pt x="19" y="182"/>
                    <a:pt x="38" y="202"/>
                    <a:pt x="62" y="214"/>
                  </a:cubicBezTo>
                  <a:cubicBezTo>
                    <a:pt x="62" y="215"/>
                    <a:pt x="62" y="215"/>
                    <a:pt x="62" y="215"/>
                  </a:cubicBezTo>
                  <a:cubicBezTo>
                    <a:pt x="87" y="224"/>
                    <a:pt x="87" y="224"/>
                    <a:pt x="87" y="224"/>
                  </a:cubicBezTo>
                  <a:cubicBezTo>
                    <a:pt x="88" y="223"/>
                    <a:pt x="88" y="223"/>
                    <a:pt x="88" y="223"/>
                  </a:cubicBezTo>
                  <a:cubicBezTo>
                    <a:pt x="96" y="225"/>
                    <a:pt x="104" y="226"/>
                    <a:pt x="113" y="226"/>
                  </a:cubicBezTo>
                  <a:cubicBezTo>
                    <a:pt x="134" y="226"/>
                    <a:pt x="154" y="220"/>
                    <a:pt x="171" y="210"/>
                  </a:cubicBezTo>
                  <a:cubicBezTo>
                    <a:pt x="172" y="211"/>
                    <a:pt x="172" y="211"/>
                    <a:pt x="172" y="211"/>
                  </a:cubicBezTo>
                  <a:cubicBezTo>
                    <a:pt x="193" y="194"/>
                    <a:pt x="193" y="194"/>
                    <a:pt x="193" y="194"/>
                  </a:cubicBezTo>
                  <a:cubicBezTo>
                    <a:pt x="192" y="193"/>
                    <a:pt x="192" y="193"/>
                    <a:pt x="192" y="193"/>
                  </a:cubicBezTo>
                  <a:cubicBezTo>
                    <a:pt x="213" y="173"/>
                    <a:pt x="226" y="145"/>
                    <a:pt x="226" y="113"/>
                  </a:cubicBezTo>
                  <a:cubicBezTo>
                    <a:pt x="226" y="51"/>
                    <a:pt x="175" y="0"/>
                    <a:pt x="113" y="0"/>
                  </a:cubicBezTo>
                  <a:cubicBezTo>
                    <a:pt x="91" y="0"/>
                    <a:pt x="71" y="6"/>
                    <a:pt x="54" y="17"/>
                  </a:cubicBezTo>
                  <a:cubicBezTo>
                    <a:pt x="54" y="16"/>
                    <a:pt x="54" y="16"/>
                    <a:pt x="54" y="16"/>
                  </a:cubicBezTo>
                  <a:lnTo>
                    <a:pt x="33" y="33"/>
                  </a:lnTo>
                  <a:close/>
                  <a:moveTo>
                    <a:pt x="199" y="113"/>
                  </a:moveTo>
                  <a:cubicBezTo>
                    <a:pt x="199" y="161"/>
                    <a:pt x="160" y="199"/>
                    <a:pt x="113" y="199"/>
                  </a:cubicBezTo>
                  <a:cubicBezTo>
                    <a:pt x="65" y="199"/>
                    <a:pt x="27" y="161"/>
                    <a:pt x="27" y="113"/>
                  </a:cubicBezTo>
                  <a:cubicBezTo>
                    <a:pt x="27" y="66"/>
                    <a:pt x="65" y="27"/>
                    <a:pt x="113" y="27"/>
                  </a:cubicBezTo>
                  <a:cubicBezTo>
                    <a:pt x="160" y="27"/>
                    <a:pt x="199" y="66"/>
                    <a:pt x="199"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80" name="Freeform 10"/>
            <p:cNvSpPr>
              <a:spLocks/>
            </p:cNvSpPr>
            <p:nvPr/>
          </p:nvSpPr>
          <p:spPr bwMode="auto">
            <a:xfrm>
              <a:off x="6564313" y="-1054100"/>
              <a:ext cx="114300" cy="104775"/>
            </a:xfrm>
            <a:custGeom>
              <a:avLst/>
              <a:gdLst>
                <a:gd name="T0" fmla="*/ 0 w 72"/>
                <a:gd name="T1" fmla="*/ 12 h 66"/>
                <a:gd name="T2" fmla="*/ 10 w 72"/>
                <a:gd name="T3" fmla="*/ 66 h 66"/>
                <a:gd name="T4" fmla="*/ 72 w 72"/>
                <a:gd name="T5" fmla="*/ 53 h 66"/>
                <a:gd name="T6" fmla="*/ 60 w 72"/>
                <a:gd name="T7" fmla="*/ 0 h 66"/>
                <a:gd name="T8" fmla="*/ 0 w 72"/>
                <a:gd name="T9" fmla="*/ 12 h 66"/>
              </a:gdLst>
              <a:ahLst/>
              <a:cxnLst>
                <a:cxn ang="0">
                  <a:pos x="T0" y="T1"/>
                </a:cxn>
                <a:cxn ang="0">
                  <a:pos x="T2" y="T3"/>
                </a:cxn>
                <a:cxn ang="0">
                  <a:pos x="T4" y="T5"/>
                </a:cxn>
                <a:cxn ang="0">
                  <a:pos x="T6" y="T7"/>
                </a:cxn>
                <a:cxn ang="0">
                  <a:pos x="T8" y="T9"/>
                </a:cxn>
              </a:cxnLst>
              <a:rect l="0" t="0" r="r" b="b"/>
              <a:pathLst>
                <a:path w="72" h="66">
                  <a:moveTo>
                    <a:pt x="0" y="12"/>
                  </a:moveTo>
                  <a:lnTo>
                    <a:pt x="10" y="66"/>
                  </a:lnTo>
                  <a:lnTo>
                    <a:pt x="72" y="53"/>
                  </a:lnTo>
                  <a:lnTo>
                    <a:pt x="60" y="0"/>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81" name="Freeform 11"/>
            <p:cNvSpPr>
              <a:spLocks noEditPoints="1"/>
            </p:cNvSpPr>
            <p:nvPr/>
          </p:nvSpPr>
          <p:spPr bwMode="auto">
            <a:xfrm>
              <a:off x="5372100" y="-1423988"/>
              <a:ext cx="1114425" cy="1114425"/>
            </a:xfrm>
            <a:custGeom>
              <a:avLst/>
              <a:gdLst>
                <a:gd name="T0" fmla="*/ 343 w 343"/>
                <a:gd name="T1" fmla="*/ 152 h 343"/>
                <a:gd name="T2" fmla="*/ 340 w 343"/>
                <a:gd name="T3" fmla="*/ 140 h 343"/>
                <a:gd name="T4" fmla="*/ 339 w 343"/>
                <a:gd name="T5" fmla="*/ 135 h 343"/>
                <a:gd name="T6" fmla="*/ 337 w 343"/>
                <a:gd name="T7" fmla="*/ 126 h 343"/>
                <a:gd name="T8" fmla="*/ 337 w 343"/>
                <a:gd name="T9" fmla="*/ 126 h 343"/>
                <a:gd name="T10" fmla="*/ 242 w 343"/>
                <a:gd name="T11" fmla="*/ 15 h 343"/>
                <a:gd name="T12" fmla="*/ 242 w 343"/>
                <a:gd name="T13" fmla="*/ 14 h 343"/>
                <a:gd name="T14" fmla="*/ 217 w 343"/>
                <a:gd name="T15" fmla="*/ 5 h 343"/>
                <a:gd name="T16" fmla="*/ 217 w 343"/>
                <a:gd name="T17" fmla="*/ 6 h 343"/>
                <a:gd name="T18" fmla="*/ 181 w 343"/>
                <a:gd name="T19" fmla="*/ 0 h 343"/>
                <a:gd name="T20" fmla="*/ 181 w 343"/>
                <a:gd name="T21" fmla="*/ 0 h 343"/>
                <a:gd name="T22" fmla="*/ 154 w 343"/>
                <a:gd name="T23" fmla="*/ 0 h 343"/>
                <a:gd name="T24" fmla="*/ 154 w 343"/>
                <a:gd name="T25" fmla="*/ 1 h 343"/>
                <a:gd name="T26" fmla="*/ 90 w 343"/>
                <a:gd name="T27" fmla="*/ 20 h 343"/>
                <a:gd name="T28" fmla="*/ 90 w 343"/>
                <a:gd name="T29" fmla="*/ 20 h 343"/>
                <a:gd name="T30" fmla="*/ 67 w 343"/>
                <a:gd name="T31" fmla="*/ 35 h 343"/>
                <a:gd name="T32" fmla="*/ 68 w 343"/>
                <a:gd name="T33" fmla="*/ 35 h 343"/>
                <a:gd name="T34" fmla="*/ 0 w 343"/>
                <a:gd name="T35" fmla="*/ 172 h 343"/>
                <a:gd name="T36" fmla="*/ 172 w 343"/>
                <a:gd name="T37" fmla="*/ 343 h 343"/>
                <a:gd name="T38" fmla="*/ 343 w 343"/>
                <a:gd name="T39" fmla="*/ 172 h 343"/>
                <a:gd name="T40" fmla="*/ 342 w 343"/>
                <a:gd name="T41" fmla="*/ 152 h 343"/>
                <a:gd name="T42" fmla="*/ 343 w 343"/>
                <a:gd name="T43" fmla="*/ 152 h 343"/>
                <a:gd name="T44" fmla="*/ 172 w 343"/>
                <a:gd name="T45" fmla="*/ 316 h 343"/>
                <a:gd name="T46" fmla="*/ 27 w 343"/>
                <a:gd name="T47" fmla="*/ 172 h 343"/>
                <a:gd name="T48" fmla="*/ 172 w 343"/>
                <a:gd name="T49" fmla="*/ 27 h 343"/>
                <a:gd name="T50" fmla="*/ 316 w 343"/>
                <a:gd name="T51" fmla="*/ 172 h 343"/>
                <a:gd name="T52" fmla="*/ 172 w 343"/>
                <a:gd name="T53" fmla="*/ 316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3" h="343">
                  <a:moveTo>
                    <a:pt x="343" y="152"/>
                  </a:moveTo>
                  <a:cubicBezTo>
                    <a:pt x="340" y="140"/>
                    <a:pt x="340" y="140"/>
                    <a:pt x="340" y="140"/>
                  </a:cubicBezTo>
                  <a:cubicBezTo>
                    <a:pt x="340" y="138"/>
                    <a:pt x="340" y="137"/>
                    <a:pt x="339" y="135"/>
                  </a:cubicBezTo>
                  <a:cubicBezTo>
                    <a:pt x="337" y="126"/>
                    <a:pt x="337" y="126"/>
                    <a:pt x="337" y="126"/>
                  </a:cubicBezTo>
                  <a:cubicBezTo>
                    <a:pt x="337" y="126"/>
                    <a:pt x="337" y="126"/>
                    <a:pt x="337" y="126"/>
                  </a:cubicBezTo>
                  <a:cubicBezTo>
                    <a:pt x="323" y="76"/>
                    <a:pt x="288" y="36"/>
                    <a:pt x="242" y="15"/>
                  </a:cubicBezTo>
                  <a:cubicBezTo>
                    <a:pt x="242" y="14"/>
                    <a:pt x="242" y="14"/>
                    <a:pt x="242" y="14"/>
                  </a:cubicBezTo>
                  <a:cubicBezTo>
                    <a:pt x="217" y="5"/>
                    <a:pt x="217" y="5"/>
                    <a:pt x="217" y="5"/>
                  </a:cubicBezTo>
                  <a:cubicBezTo>
                    <a:pt x="217" y="6"/>
                    <a:pt x="217" y="6"/>
                    <a:pt x="217" y="6"/>
                  </a:cubicBezTo>
                  <a:cubicBezTo>
                    <a:pt x="205" y="3"/>
                    <a:pt x="193" y="1"/>
                    <a:pt x="181" y="0"/>
                  </a:cubicBezTo>
                  <a:cubicBezTo>
                    <a:pt x="181" y="0"/>
                    <a:pt x="181" y="0"/>
                    <a:pt x="181" y="0"/>
                  </a:cubicBezTo>
                  <a:cubicBezTo>
                    <a:pt x="154" y="0"/>
                    <a:pt x="154" y="0"/>
                    <a:pt x="154" y="0"/>
                  </a:cubicBezTo>
                  <a:cubicBezTo>
                    <a:pt x="154" y="1"/>
                    <a:pt x="154" y="1"/>
                    <a:pt x="154" y="1"/>
                  </a:cubicBezTo>
                  <a:cubicBezTo>
                    <a:pt x="131" y="3"/>
                    <a:pt x="110" y="10"/>
                    <a:pt x="90" y="20"/>
                  </a:cubicBezTo>
                  <a:cubicBezTo>
                    <a:pt x="90" y="20"/>
                    <a:pt x="90" y="20"/>
                    <a:pt x="90" y="20"/>
                  </a:cubicBezTo>
                  <a:cubicBezTo>
                    <a:pt x="67" y="35"/>
                    <a:pt x="67" y="35"/>
                    <a:pt x="67" y="35"/>
                  </a:cubicBezTo>
                  <a:cubicBezTo>
                    <a:pt x="68" y="35"/>
                    <a:pt x="68" y="35"/>
                    <a:pt x="68" y="35"/>
                  </a:cubicBezTo>
                  <a:cubicBezTo>
                    <a:pt x="26" y="67"/>
                    <a:pt x="0" y="116"/>
                    <a:pt x="0" y="172"/>
                  </a:cubicBezTo>
                  <a:cubicBezTo>
                    <a:pt x="0" y="266"/>
                    <a:pt x="77" y="343"/>
                    <a:pt x="172" y="343"/>
                  </a:cubicBezTo>
                  <a:cubicBezTo>
                    <a:pt x="266" y="343"/>
                    <a:pt x="343" y="266"/>
                    <a:pt x="343" y="172"/>
                  </a:cubicBezTo>
                  <a:cubicBezTo>
                    <a:pt x="343" y="165"/>
                    <a:pt x="343" y="158"/>
                    <a:pt x="342" y="152"/>
                  </a:cubicBezTo>
                  <a:lnTo>
                    <a:pt x="343" y="152"/>
                  </a:lnTo>
                  <a:close/>
                  <a:moveTo>
                    <a:pt x="172" y="316"/>
                  </a:moveTo>
                  <a:cubicBezTo>
                    <a:pt x="92" y="316"/>
                    <a:pt x="27" y="251"/>
                    <a:pt x="27" y="172"/>
                  </a:cubicBezTo>
                  <a:cubicBezTo>
                    <a:pt x="27" y="92"/>
                    <a:pt x="92" y="27"/>
                    <a:pt x="172" y="27"/>
                  </a:cubicBezTo>
                  <a:cubicBezTo>
                    <a:pt x="251" y="27"/>
                    <a:pt x="316" y="92"/>
                    <a:pt x="316" y="172"/>
                  </a:cubicBezTo>
                  <a:cubicBezTo>
                    <a:pt x="316" y="251"/>
                    <a:pt x="251" y="316"/>
                    <a:pt x="172" y="3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82" name="Freeform 12"/>
            <p:cNvSpPr>
              <a:spLocks/>
            </p:cNvSpPr>
            <p:nvPr/>
          </p:nvSpPr>
          <p:spPr bwMode="auto">
            <a:xfrm>
              <a:off x="5440363" y="-1590675"/>
              <a:ext cx="111125" cy="104775"/>
            </a:xfrm>
            <a:custGeom>
              <a:avLst/>
              <a:gdLst>
                <a:gd name="T0" fmla="*/ 0 w 70"/>
                <a:gd name="T1" fmla="*/ 31 h 66"/>
                <a:gd name="T2" fmla="*/ 25 w 70"/>
                <a:gd name="T3" fmla="*/ 66 h 66"/>
                <a:gd name="T4" fmla="*/ 70 w 70"/>
                <a:gd name="T5" fmla="*/ 37 h 66"/>
                <a:gd name="T6" fmla="*/ 47 w 70"/>
                <a:gd name="T7" fmla="*/ 0 h 66"/>
                <a:gd name="T8" fmla="*/ 0 w 70"/>
                <a:gd name="T9" fmla="*/ 31 h 66"/>
              </a:gdLst>
              <a:ahLst/>
              <a:cxnLst>
                <a:cxn ang="0">
                  <a:pos x="T0" y="T1"/>
                </a:cxn>
                <a:cxn ang="0">
                  <a:pos x="T2" y="T3"/>
                </a:cxn>
                <a:cxn ang="0">
                  <a:pos x="T4" y="T5"/>
                </a:cxn>
                <a:cxn ang="0">
                  <a:pos x="T6" y="T7"/>
                </a:cxn>
                <a:cxn ang="0">
                  <a:pos x="T8" y="T9"/>
                </a:cxn>
              </a:cxnLst>
              <a:rect l="0" t="0" r="r" b="b"/>
              <a:pathLst>
                <a:path w="70" h="66">
                  <a:moveTo>
                    <a:pt x="0" y="31"/>
                  </a:moveTo>
                  <a:lnTo>
                    <a:pt x="25" y="66"/>
                  </a:lnTo>
                  <a:lnTo>
                    <a:pt x="70" y="37"/>
                  </a:lnTo>
                  <a:lnTo>
                    <a:pt x="47" y="0"/>
                  </a:lnTo>
                  <a:lnTo>
                    <a:pt x="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83" name="Freeform 13"/>
            <p:cNvSpPr>
              <a:spLocks/>
            </p:cNvSpPr>
            <p:nvPr/>
          </p:nvSpPr>
          <p:spPr bwMode="auto">
            <a:xfrm>
              <a:off x="5514975" y="-1473200"/>
              <a:ext cx="111125" cy="103187"/>
            </a:xfrm>
            <a:custGeom>
              <a:avLst/>
              <a:gdLst>
                <a:gd name="T0" fmla="*/ 70 w 70"/>
                <a:gd name="T1" fmla="*/ 35 h 65"/>
                <a:gd name="T2" fmla="*/ 47 w 70"/>
                <a:gd name="T3" fmla="*/ 0 h 65"/>
                <a:gd name="T4" fmla="*/ 0 w 70"/>
                <a:gd name="T5" fmla="*/ 29 h 65"/>
                <a:gd name="T6" fmla="*/ 25 w 70"/>
                <a:gd name="T7" fmla="*/ 65 h 65"/>
                <a:gd name="T8" fmla="*/ 70 w 70"/>
                <a:gd name="T9" fmla="*/ 35 h 65"/>
              </a:gdLst>
              <a:ahLst/>
              <a:cxnLst>
                <a:cxn ang="0">
                  <a:pos x="T0" y="T1"/>
                </a:cxn>
                <a:cxn ang="0">
                  <a:pos x="T2" y="T3"/>
                </a:cxn>
                <a:cxn ang="0">
                  <a:pos x="T4" y="T5"/>
                </a:cxn>
                <a:cxn ang="0">
                  <a:pos x="T6" y="T7"/>
                </a:cxn>
                <a:cxn ang="0">
                  <a:pos x="T8" y="T9"/>
                </a:cxn>
              </a:cxnLst>
              <a:rect l="0" t="0" r="r" b="b"/>
              <a:pathLst>
                <a:path w="70" h="65">
                  <a:moveTo>
                    <a:pt x="70" y="35"/>
                  </a:moveTo>
                  <a:lnTo>
                    <a:pt x="47" y="0"/>
                  </a:lnTo>
                  <a:lnTo>
                    <a:pt x="0" y="29"/>
                  </a:lnTo>
                  <a:lnTo>
                    <a:pt x="25" y="65"/>
                  </a:lnTo>
                  <a:lnTo>
                    <a:pt x="7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84" name="Freeform 14"/>
            <p:cNvSpPr>
              <a:spLocks noEditPoints="1"/>
            </p:cNvSpPr>
            <p:nvPr/>
          </p:nvSpPr>
          <p:spPr bwMode="auto">
            <a:xfrm>
              <a:off x="4875213" y="-2298700"/>
              <a:ext cx="735012" cy="735012"/>
            </a:xfrm>
            <a:custGeom>
              <a:avLst/>
              <a:gdLst>
                <a:gd name="T0" fmla="*/ 163 w 226"/>
                <a:gd name="T1" fmla="*/ 215 h 226"/>
                <a:gd name="T2" fmla="*/ 176 w 226"/>
                <a:gd name="T3" fmla="*/ 207 h 226"/>
                <a:gd name="T4" fmla="*/ 176 w 226"/>
                <a:gd name="T5" fmla="*/ 206 h 226"/>
                <a:gd name="T6" fmla="*/ 186 w 226"/>
                <a:gd name="T7" fmla="*/ 200 h 226"/>
                <a:gd name="T8" fmla="*/ 185 w 226"/>
                <a:gd name="T9" fmla="*/ 200 h 226"/>
                <a:gd name="T10" fmla="*/ 213 w 226"/>
                <a:gd name="T11" fmla="*/ 165 h 226"/>
                <a:gd name="T12" fmla="*/ 214 w 226"/>
                <a:gd name="T13" fmla="*/ 166 h 226"/>
                <a:gd name="T14" fmla="*/ 224 w 226"/>
                <a:gd name="T15" fmla="*/ 141 h 226"/>
                <a:gd name="T16" fmla="*/ 223 w 226"/>
                <a:gd name="T17" fmla="*/ 140 h 226"/>
                <a:gd name="T18" fmla="*/ 226 w 226"/>
                <a:gd name="T19" fmla="*/ 113 h 226"/>
                <a:gd name="T20" fmla="*/ 224 w 226"/>
                <a:gd name="T21" fmla="*/ 95 h 226"/>
                <a:gd name="T22" fmla="*/ 225 w 226"/>
                <a:gd name="T23" fmla="*/ 95 h 226"/>
                <a:gd name="T24" fmla="*/ 218 w 226"/>
                <a:gd name="T25" fmla="*/ 69 h 226"/>
                <a:gd name="T26" fmla="*/ 217 w 226"/>
                <a:gd name="T27" fmla="*/ 69 h 226"/>
                <a:gd name="T28" fmla="*/ 183 w 226"/>
                <a:gd name="T29" fmla="*/ 24 h 226"/>
                <a:gd name="T30" fmla="*/ 184 w 226"/>
                <a:gd name="T31" fmla="*/ 24 h 226"/>
                <a:gd name="T32" fmla="*/ 161 w 226"/>
                <a:gd name="T33" fmla="*/ 10 h 226"/>
                <a:gd name="T34" fmla="*/ 160 w 226"/>
                <a:gd name="T35" fmla="*/ 10 h 226"/>
                <a:gd name="T36" fmla="*/ 113 w 226"/>
                <a:gd name="T37" fmla="*/ 0 h 226"/>
                <a:gd name="T38" fmla="*/ 0 w 226"/>
                <a:gd name="T39" fmla="*/ 113 h 226"/>
                <a:gd name="T40" fmla="*/ 113 w 226"/>
                <a:gd name="T41" fmla="*/ 226 h 226"/>
                <a:gd name="T42" fmla="*/ 163 w 226"/>
                <a:gd name="T43" fmla="*/ 214 h 226"/>
                <a:gd name="T44" fmla="*/ 163 w 226"/>
                <a:gd name="T45" fmla="*/ 215 h 226"/>
                <a:gd name="T46" fmla="*/ 27 w 226"/>
                <a:gd name="T47" fmla="*/ 113 h 226"/>
                <a:gd name="T48" fmla="*/ 113 w 226"/>
                <a:gd name="T49" fmla="*/ 27 h 226"/>
                <a:gd name="T50" fmla="*/ 199 w 226"/>
                <a:gd name="T51" fmla="*/ 113 h 226"/>
                <a:gd name="T52" fmla="*/ 113 w 226"/>
                <a:gd name="T53" fmla="*/ 199 h 226"/>
                <a:gd name="T54" fmla="*/ 27 w 226"/>
                <a:gd name="T55" fmla="*/ 11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6" h="226">
                  <a:moveTo>
                    <a:pt x="163" y="215"/>
                  </a:moveTo>
                  <a:cubicBezTo>
                    <a:pt x="176" y="207"/>
                    <a:pt x="176" y="207"/>
                    <a:pt x="176" y="207"/>
                  </a:cubicBezTo>
                  <a:cubicBezTo>
                    <a:pt x="176" y="207"/>
                    <a:pt x="176" y="207"/>
                    <a:pt x="176" y="206"/>
                  </a:cubicBezTo>
                  <a:cubicBezTo>
                    <a:pt x="186" y="200"/>
                    <a:pt x="186" y="200"/>
                    <a:pt x="186" y="200"/>
                  </a:cubicBezTo>
                  <a:cubicBezTo>
                    <a:pt x="185" y="200"/>
                    <a:pt x="185" y="200"/>
                    <a:pt x="185" y="200"/>
                  </a:cubicBezTo>
                  <a:cubicBezTo>
                    <a:pt x="197" y="190"/>
                    <a:pt x="206" y="179"/>
                    <a:pt x="213" y="165"/>
                  </a:cubicBezTo>
                  <a:cubicBezTo>
                    <a:pt x="214" y="166"/>
                    <a:pt x="214" y="166"/>
                    <a:pt x="214" y="166"/>
                  </a:cubicBezTo>
                  <a:cubicBezTo>
                    <a:pt x="224" y="141"/>
                    <a:pt x="224" y="141"/>
                    <a:pt x="224" y="141"/>
                  </a:cubicBezTo>
                  <a:cubicBezTo>
                    <a:pt x="223" y="140"/>
                    <a:pt x="223" y="140"/>
                    <a:pt x="223" y="140"/>
                  </a:cubicBezTo>
                  <a:cubicBezTo>
                    <a:pt x="225" y="131"/>
                    <a:pt x="226" y="122"/>
                    <a:pt x="226" y="113"/>
                  </a:cubicBezTo>
                  <a:cubicBezTo>
                    <a:pt x="226" y="107"/>
                    <a:pt x="225" y="101"/>
                    <a:pt x="224" y="95"/>
                  </a:cubicBezTo>
                  <a:cubicBezTo>
                    <a:pt x="225" y="95"/>
                    <a:pt x="225" y="95"/>
                    <a:pt x="225" y="95"/>
                  </a:cubicBezTo>
                  <a:cubicBezTo>
                    <a:pt x="218" y="69"/>
                    <a:pt x="218" y="69"/>
                    <a:pt x="218" y="69"/>
                  </a:cubicBezTo>
                  <a:cubicBezTo>
                    <a:pt x="217" y="69"/>
                    <a:pt x="217" y="69"/>
                    <a:pt x="217" y="69"/>
                  </a:cubicBezTo>
                  <a:cubicBezTo>
                    <a:pt x="210" y="51"/>
                    <a:pt x="198" y="36"/>
                    <a:pt x="183" y="24"/>
                  </a:cubicBezTo>
                  <a:cubicBezTo>
                    <a:pt x="184" y="24"/>
                    <a:pt x="184" y="24"/>
                    <a:pt x="184" y="24"/>
                  </a:cubicBezTo>
                  <a:cubicBezTo>
                    <a:pt x="161" y="10"/>
                    <a:pt x="161" y="10"/>
                    <a:pt x="161" y="10"/>
                  </a:cubicBezTo>
                  <a:cubicBezTo>
                    <a:pt x="160" y="10"/>
                    <a:pt x="160" y="10"/>
                    <a:pt x="160" y="10"/>
                  </a:cubicBezTo>
                  <a:cubicBezTo>
                    <a:pt x="146" y="4"/>
                    <a:pt x="130" y="0"/>
                    <a:pt x="113" y="0"/>
                  </a:cubicBezTo>
                  <a:cubicBezTo>
                    <a:pt x="51" y="0"/>
                    <a:pt x="0" y="51"/>
                    <a:pt x="0" y="113"/>
                  </a:cubicBezTo>
                  <a:cubicBezTo>
                    <a:pt x="0" y="175"/>
                    <a:pt x="51" y="226"/>
                    <a:pt x="113" y="226"/>
                  </a:cubicBezTo>
                  <a:cubicBezTo>
                    <a:pt x="131" y="226"/>
                    <a:pt x="148" y="222"/>
                    <a:pt x="163" y="214"/>
                  </a:cubicBezTo>
                  <a:lnTo>
                    <a:pt x="163" y="215"/>
                  </a:lnTo>
                  <a:close/>
                  <a:moveTo>
                    <a:pt x="27" y="113"/>
                  </a:moveTo>
                  <a:cubicBezTo>
                    <a:pt x="27" y="65"/>
                    <a:pt x="66" y="27"/>
                    <a:pt x="113" y="27"/>
                  </a:cubicBezTo>
                  <a:cubicBezTo>
                    <a:pt x="161" y="27"/>
                    <a:pt x="199" y="65"/>
                    <a:pt x="199" y="113"/>
                  </a:cubicBezTo>
                  <a:cubicBezTo>
                    <a:pt x="199" y="160"/>
                    <a:pt x="161" y="199"/>
                    <a:pt x="113" y="199"/>
                  </a:cubicBezTo>
                  <a:cubicBezTo>
                    <a:pt x="66" y="199"/>
                    <a:pt x="27" y="160"/>
                    <a:pt x="27"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85" name="Freeform 15"/>
            <p:cNvSpPr>
              <a:spLocks/>
            </p:cNvSpPr>
            <p:nvPr/>
          </p:nvSpPr>
          <p:spPr bwMode="auto">
            <a:xfrm>
              <a:off x="5530850" y="-2562225"/>
              <a:ext cx="120650" cy="117475"/>
            </a:xfrm>
            <a:custGeom>
              <a:avLst/>
              <a:gdLst>
                <a:gd name="T0" fmla="*/ 76 w 76"/>
                <a:gd name="T1" fmla="*/ 29 h 74"/>
                <a:gd name="T2" fmla="*/ 29 w 76"/>
                <a:gd name="T3" fmla="*/ 0 h 74"/>
                <a:gd name="T4" fmla="*/ 0 w 76"/>
                <a:gd name="T5" fmla="*/ 45 h 74"/>
                <a:gd name="T6" fmla="*/ 47 w 76"/>
                <a:gd name="T7" fmla="*/ 74 h 74"/>
                <a:gd name="T8" fmla="*/ 76 w 76"/>
                <a:gd name="T9" fmla="*/ 29 h 74"/>
              </a:gdLst>
              <a:ahLst/>
              <a:cxnLst>
                <a:cxn ang="0">
                  <a:pos x="T0" y="T1"/>
                </a:cxn>
                <a:cxn ang="0">
                  <a:pos x="T2" y="T3"/>
                </a:cxn>
                <a:cxn ang="0">
                  <a:pos x="T4" y="T5"/>
                </a:cxn>
                <a:cxn ang="0">
                  <a:pos x="T6" y="T7"/>
                </a:cxn>
                <a:cxn ang="0">
                  <a:pos x="T8" y="T9"/>
                </a:cxn>
              </a:cxnLst>
              <a:rect l="0" t="0" r="r" b="b"/>
              <a:pathLst>
                <a:path w="76" h="74">
                  <a:moveTo>
                    <a:pt x="76" y="29"/>
                  </a:moveTo>
                  <a:lnTo>
                    <a:pt x="29" y="0"/>
                  </a:lnTo>
                  <a:lnTo>
                    <a:pt x="0" y="45"/>
                  </a:lnTo>
                  <a:lnTo>
                    <a:pt x="47" y="74"/>
                  </a:lnTo>
                  <a:lnTo>
                    <a:pt x="76"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86" name="Freeform 16"/>
            <p:cNvSpPr>
              <a:spLocks/>
            </p:cNvSpPr>
            <p:nvPr/>
          </p:nvSpPr>
          <p:spPr bwMode="auto">
            <a:xfrm>
              <a:off x="5622925" y="-2711450"/>
              <a:ext cx="119062" cy="120650"/>
            </a:xfrm>
            <a:custGeom>
              <a:avLst/>
              <a:gdLst>
                <a:gd name="T0" fmla="*/ 75 w 75"/>
                <a:gd name="T1" fmla="*/ 28 h 76"/>
                <a:gd name="T2" fmla="*/ 28 w 75"/>
                <a:gd name="T3" fmla="*/ 0 h 76"/>
                <a:gd name="T4" fmla="*/ 0 w 75"/>
                <a:gd name="T5" fmla="*/ 47 h 76"/>
                <a:gd name="T6" fmla="*/ 47 w 75"/>
                <a:gd name="T7" fmla="*/ 76 h 76"/>
                <a:gd name="T8" fmla="*/ 75 w 75"/>
                <a:gd name="T9" fmla="*/ 28 h 76"/>
              </a:gdLst>
              <a:ahLst/>
              <a:cxnLst>
                <a:cxn ang="0">
                  <a:pos x="T0" y="T1"/>
                </a:cxn>
                <a:cxn ang="0">
                  <a:pos x="T2" y="T3"/>
                </a:cxn>
                <a:cxn ang="0">
                  <a:pos x="T4" y="T5"/>
                </a:cxn>
                <a:cxn ang="0">
                  <a:pos x="T6" y="T7"/>
                </a:cxn>
                <a:cxn ang="0">
                  <a:pos x="T8" y="T9"/>
                </a:cxn>
              </a:cxnLst>
              <a:rect l="0" t="0" r="r" b="b"/>
              <a:pathLst>
                <a:path w="75" h="76">
                  <a:moveTo>
                    <a:pt x="75" y="28"/>
                  </a:moveTo>
                  <a:lnTo>
                    <a:pt x="28" y="0"/>
                  </a:lnTo>
                  <a:lnTo>
                    <a:pt x="0" y="47"/>
                  </a:lnTo>
                  <a:lnTo>
                    <a:pt x="47" y="76"/>
                  </a:lnTo>
                  <a:lnTo>
                    <a:pt x="75"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87" name="Freeform 17"/>
            <p:cNvSpPr>
              <a:spLocks/>
            </p:cNvSpPr>
            <p:nvPr/>
          </p:nvSpPr>
          <p:spPr bwMode="auto">
            <a:xfrm>
              <a:off x="5443538" y="-2416175"/>
              <a:ext cx="117475" cy="120650"/>
            </a:xfrm>
            <a:custGeom>
              <a:avLst/>
              <a:gdLst>
                <a:gd name="T0" fmla="*/ 74 w 74"/>
                <a:gd name="T1" fmla="*/ 29 h 76"/>
                <a:gd name="T2" fmla="*/ 27 w 74"/>
                <a:gd name="T3" fmla="*/ 0 h 76"/>
                <a:gd name="T4" fmla="*/ 0 w 74"/>
                <a:gd name="T5" fmla="*/ 47 h 76"/>
                <a:gd name="T6" fmla="*/ 45 w 74"/>
                <a:gd name="T7" fmla="*/ 76 h 76"/>
                <a:gd name="T8" fmla="*/ 74 w 74"/>
                <a:gd name="T9" fmla="*/ 29 h 76"/>
              </a:gdLst>
              <a:ahLst/>
              <a:cxnLst>
                <a:cxn ang="0">
                  <a:pos x="T0" y="T1"/>
                </a:cxn>
                <a:cxn ang="0">
                  <a:pos x="T2" y="T3"/>
                </a:cxn>
                <a:cxn ang="0">
                  <a:pos x="T4" y="T5"/>
                </a:cxn>
                <a:cxn ang="0">
                  <a:pos x="T6" y="T7"/>
                </a:cxn>
                <a:cxn ang="0">
                  <a:pos x="T8" y="T9"/>
                </a:cxn>
              </a:cxnLst>
              <a:rect l="0" t="0" r="r" b="b"/>
              <a:pathLst>
                <a:path w="74" h="76">
                  <a:moveTo>
                    <a:pt x="74" y="29"/>
                  </a:moveTo>
                  <a:lnTo>
                    <a:pt x="27" y="0"/>
                  </a:lnTo>
                  <a:lnTo>
                    <a:pt x="0" y="47"/>
                  </a:lnTo>
                  <a:lnTo>
                    <a:pt x="45" y="76"/>
                  </a:lnTo>
                  <a:lnTo>
                    <a:pt x="7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88" name="Freeform 18"/>
            <p:cNvSpPr>
              <a:spLocks/>
            </p:cNvSpPr>
            <p:nvPr/>
          </p:nvSpPr>
          <p:spPr bwMode="auto">
            <a:xfrm>
              <a:off x="5681663" y="-2130425"/>
              <a:ext cx="119062" cy="111125"/>
            </a:xfrm>
            <a:custGeom>
              <a:avLst/>
              <a:gdLst>
                <a:gd name="T0" fmla="*/ 61 w 75"/>
                <a:gd name="T1" fmla="*/ 0 h 70"/>
                <a:gd name="T2" fmla="*/ 0 w 75"/>
                <a:gd name="T3" fmla="*/ 17 h 70"/>
                <a:gd name="T4" fmla="*/ 14 w 75"/>
                <a:gd name="T5" fmla="*/ 70 h 70"/>
                <a:gd name="T6" fmla="*/ 75 w 75"/>
                <a:gd name="T7" fmla="*/ 51 h 70"/>
                <a:gd name="T8" fmla="*/ 61 w 75"/>
                <a:gd name="T9" fmla="*/ 0 h 70"/>
              </a:gdLst>
              <a:ahLst/>
              <a:cxnLst>
                <a:cxn ang="0">
                  <a:pos x="T0" y="T1"/>
                </a:cxn>
                <a:cxn ang="0">
                  <a:pos x="T2" y="T3"/>
                </a:cxn>
                <a:cxn ang="0">
                  <a:pos x="T4" y="T5"/>
                </a:cxn>
                <a:cxn ang="0">
                  <a:pos x="T6" y="T7"/>
                </a:cxn>
                <a:cxn ang="0">
                  <a:pos x="T8" y="T9"/>
                </a:cxn>
              </a:cxnLst>
              <a:rect l="0" t="0" r="r" b="b"/>
              <a:pathLst>
                <a:path w="75" h="70">
                  <a:moveTo>
                    <a:pt x="61" y="0"/>
                  </a:moveTo>
                  <a:lnTo>
                    <a:pt x="0" y="17"/>
                  </a:lnTo>
                  <a:lnTo>
                    <a:pt x="14" y="70"/>
                  </a:lnTo>
                  <a:lnTo>
                    <a:pt x="75" y="51"/>
                  </a:ln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90" name="Freeform 19"/>
            <p:cNvSpPr>
              <a:spLocks/>
            </p:cNvSpPr>
            <p:nvPr/>
          </p:nvSpPr>
          <p:spPr bwMode="auto">
            <a:xfrm>
              <a:off x="5859463" y="-2189163"/>
              <a:ext cx="136525" cy="160337"/>
            </a:xfrm>
            <a:custGeom>
              <a:avLst/>
              <a:gdLst>
                <a:gd name="T0" fmla="*/ 72 w 86"/>
                <a:gd name="T1" fmla="*/ 0 h 101"/>
                <a:gd name="T2" fmla="*/ 10 w 86"/>
                <a:gd name="T3" fmla="*/ 19 h 101"/>
                <a:gd name="T4" fmla="*/ 16 w 86"/>
                <a:gd name="T5" fmla="*/ 45 h 101"/>
                <a:gd name="T6" fmla="*/ 0 w 86"/>
                <a:gd name="T7" fmla="*/ 45 h 101"/>
                <a:gd name="T8" fmla="*/ 0 w 86"/>
                <a:gd name="T9" fmla="*/ 101 h 101"/>
                <a:gd name="T10" fmla="*/ 55 w 86"/>
                <a:gd name="T11" fmla="*/ 99 h 101"/>
                <a:gd name="T12" fmla="*/ 55 w 86"/>
                <a:gd name="T13" fmla="*/ 64 h 101"/>
                <a:gd name="T14" fmla="*/ 86 w 86"/>
                <a:gd name="T15" fmla="*/ 54 h 101"/>
                <a:gd name="T16" fmla="*/ 72 w 8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01">
                  <a:moveTo>
                    <a:pt x="72" y="0"/>
                  </a:moveTo>
                  <a:lnTo>
                    <a:pt x="10" y="19"/>
                  </a:lnTo>
                  <a:lnTo>
                    <a:pt x="16" y="45"/>
                  </a:lnTo>
                  <a:lnTo>
                    <a:pt x="0" y="45"/>
                  </a:lnTo>
                  <a:lnTo>
                    <a:pt x="0" y="101"/>
                  </a:lnTo>
                  <a:lnTo>
                    <a:pt x="55" y="99"/>
                  </a:lnTo>
                  <a:lnTo>
                    <a:pt x="55" y="64"/>
                  </a:lnTo>
                  <a:lnTo>
                    <a:pt x="86" y="54"/>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91" name="Freeform 20"/>
            <p:cNvSpPr>
              <a:spLocks/>
            </p:cNvSpPr>
            <p:nvPr/>
          </p:nvSpPr>
          <p:spPr bwMode="auto">
            <a:xfrm>
              <a:off x="6213475" y="-1866900"/>
              <a:ext cx="111125" cy="104775"/>
            </a:xfrm>
            <a:custGeom>
              <a:avLst/>
              <a:gdLst>
                <a:gd name="T0" fmla="*/ 70 w 70"/>
                <a:gd name="T1" fmla="*/ 19 h 66"/>
                <a:gd name="T2" fmla="*/ 19 w 70"/>
                <a:gd name="T3" fmla="*/ 0 h 66"/>
                <a:gd name="T4" fmla="*/ 0 w 70"/>
                <a:gd name="T5" fmla="*/ 47 h 66"/>
                <a:gd name="T6" fmla="*/ 51 w 70"/>
                <a:gd name="T7" fmla="*/ 66 h 66"/>
                <a:gd name="T8" fmla="*/ 70 w 70"/>
                <a:gd name="T9" fmla="*/ 19 h 66"/>
              </a:gdLst>
              <a:ahLst/>
              <a:cxnLst>
                <a:cxn ang="0">
                  <a:pos x="T0" y="T1"/>
                </a:cxn>
                <a:cxn ang="0">
                  <a:pos x="T2" y="T3"/>
                </a:cxn>
                <a:cxn ang="0">
                  <a:pos x="T4" y="T5"/>
                </a:cxn>
                <a:cxn ang="0">
                  <a:pos x="T6" y="T7"/>
                </a:cxn>
                <a:cxn ang="0">
                  <a:pos x="T8" y="T9"/>
                </a:cxn>
              </a:cxnLst>
              <a:rect l="0" t="0" r="r" b="b"/>
              <a:pathLst>
                <a:path w="70" h="66">
                  <a:moveTo>
                    <a:pt x="70" y="19"/>
                  </a:moveTo>
                  <a:lnTo>
                    <a:pt x="19" y="0"/>
                  </a:lnTo>
                  <a:lnTo>
                    <a:pt x="0" y="47"/>
                  </a:lnTo>
                  <a:lnTo>
                    <a:pt x="51" y="66"/>
                  </a:lnTo>
                  <a:lnTo>
                    <a:pt x="7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94" name="Freeform 21"/>
            <p:cNvSpPr>
              <a:spLocks/>
            </p:cNvSpPr>
            <p:nvPr/>
          </p:nvSpPr>
          <p:spPr bwMode="auto">
            <a:xfrm>
              <a:off x="6157913" y="-1714500"/>
              <a:ext cx="111125" cy="107950"/>
            </a:xfrm>
            <a:custGeom>
              <a:avLst/>
              <a:gdLst>
                <a:gd name="T0" fmla="*/ 19 w 70"/>
                <a:gd name="T1" fmla="*/ 0 h 68"/>
                <a:gd name="T2" fmla="*/ 0 w 70"/>
                <a:gd name="T3" fmla="*/ 50 h 68"/>
                <a:gd name="T4" fmla="*/ 52 w 70"/>
                <a:gd name="T5" fmla="*/ 68 h 68"/>
                <a:gd name="T6" fmla="*/ 70 w 70"/>
                <a:gd name="T7" fmla="*/ 19 h 68"/>
                <a:gd name="T8" fmla="*/ 19 w 70"/>
                <a:gd name="T9" fmla="*/ 0 h 68"/>
              </a:gdLst>
              <a:ahLst/>
              <a:cxnLst>
                <a:cxn ang="0">
                  <a:pos x="T0" y="T1"/>
                </a:cxn>
                <a:cxn ang="0">
                  <a:pos x="T2" y="T3"/>
                </a:cxn>
                <a:cxn ang="0">
                  <a:pos x="T4" y="T5"/>
                </a:cxn>
                <a:cxn ang="0">
                  <a:pos x="T6" y="T7"/>
                </a:cxn>
                <a:cxn ang="0">
                  <a:pos x="T8" y="T9"/>
                </a:cxn>
              </a:cxnLst>
              <a:rect l="0" t="0" r="r" b="b"/>
              <a:pathLst>
                <a:path w="70" h="68">
                  <a:moveTo>
                    <a:pt x="19" y="0"/>
                  </a:moveTo>
                  <a:lnTo>
                    <a:pt x="0" y="50"/>
                  </a:lnTo>
                  <a:lnTo>
                    <a:pt x="52" y="68"/>
                  </a:lnTo>
                  <a:lnTo>
                    <a:pt x="70" y="19"/>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95" name="Freeform 22"/>
            <p:cNvSpPr>
              <a:spLocks/>
            </p:cNvSpPr>
            <p:nvPr/>
          </p:nvSpPr>
          <p:spPr bwMode="auto">
            <a:xfrm>
              <a:off x="5856288" y="-2292350"/>
              <a:ext cx="87312" cy="87312"/>
            </a:xfrm>
            <a:custGeom>
              <a:avLst/>
              <a:gdLst>
                <a:gd name="T0" fmla="*/ 55 w 55"/>
                <a:gd name="T1" fmla="*/ 55 h 55"/>
                <a:gd name="T2" fmla="*/ 53 w 55"/>
                <a:gd name="T3" fmla="*/ 0 h 55"/>
                <a:gd name="T4" fmla="*/ 0 w 55"/>
                <a:gd name="T5" fmla="*/ 2 h 55"/>
                <a:gd name="T6" fmla="*/ 0 w 55"/>
                <a:gd name="T7" fmla="*/ 55 h 55"/>
                <a:gd name="T8" fmla="*/ 55 w 55"/>
                <a:gd name="T9" fmla="*/ 55 h 55"/>
              </a:gdLst>
              <a:ahLst/>
              <a:cxnLst>
                <a:cxn ang="0">
                  <a:pos x="T0" y="T1"/>
                </a:cxn>
                <a:cxn ang="0">
                  <a:pos x="T2" y="T3"/>
                </a:cxn>
                <a:cxn ang="0">
                  <a:pos x="T4" y="T5"/>
                </a:cxn>
                <a:cxn ang="0">
                  <a:pos x="T6" y="T7"/>
                </a:cxn>
                <a:cxn ang="0">
                  <a:pos x="T8" y="T9"/>
                </a:cxn>
              </a:cxnLst>
              <a:rect l="0" t="0" r="r" b="b"/>
              <a:pathLst>
                <a:path w="55" h="55">
                  <a:moveTo>
                    <a:pt x="55" y="55"/>
                  </a:moveTo>
                  <a:lnTo>
                    <a:pt x="53" y="0"/>
                  </a:lnTo>
                  <a:lnTo>
                    <a:pt x="0" y="2"/>
                  </a:lnTo>
                  <a:lnTo>
                    <a:pt x="0" y="55"/>
                  </a:lnTo>
                  <a:lnTo>
                    <a:pt x="55"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96" name="Freeform 23"/>
            <p:cNvSpPr>
              <a:spLocks/>
            </p:cNvSpPr>
            <p:nvPr/>
          </p:nvSpPr>
          <p:spPr bwMode="auto">
            <a:xfrm>
              <a:off x="5846763" y="-2640013"/>
              <a:ext cx="90487" cy="90487"/>
            </a:xfrm>
            <a:custGeom>
              <a:avLst/>
              <a:gdLst>
                <a:gd name="T0" fmla="*/ 0 w 57"/>
                <a:gd name="T1" fmla="*/ 2 h 57"/>
                <a:gd name="T2" fmla="*/ 2 w 57"/>
                <a:gd name="T3" fmla="*/ 57 h 57"/>
                <a:gd name="T4" fmla="*/ 57 w 57"/>
                <a:gd name="T5" fmla="*/ 55 h 57"/>
                <a:gd name="T6" fmla="*/ 55 w 57"/>
                <a:gd name="T7" fmla="*/ 0 h 57"/>
                <a:gd name="T8" fmla="*/ 0 w 57"/>
                <a:gd name="T9" fmla="*/ 2 h 57"/>
              </a:gdLst>
              <a:ahLst/>
              <a:cxnLst>
                <a:cxn ang="0">
                  <a:pos x="T0" y="T1"/>
                </a:cxn>
                <a:cxn ang="0">
                  <a:pos x="T2" y="T3"/>
                </a:cxn>
                <a:cxn ang="0">
                  <a:pos x="T4" y="T5"/>
                </a:cxn>
                <a:cxn ang="0">
                  <a:pos x="T6" y="T7"/>
                </a:cxn>
                <a:cxn ang="0">
                  <a:pos x="T8" y="T9"/>
                </a:cxn>
              </a:cxnLst>
              <a:rect l="0" t="0" r="r" b="b"/>
              <a:pathLst>
                <a:path w="57" h="57">
                  <a:moveTo>
                    <a:pt x="0" y="2"/>
                  </a:moveTo>
                  <a:lnTo>
                    <a:pt x="2" y="57"/>
                  </a:lnTo>
                  <a:lnTo>
                    <a:pt x="57" y="55"/>
                  </a:lnTo>
                  <a:lnTo>
                    <a:pt x="55"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97" name="Freeform 24"/>
            <p:cNvSpPr>
              <a:spLocks/>
            </p:cNvSpPr>
            <p:nvPr/>
          </p:nvSpPr>
          <p:spPr bwMode="auto">
            <a:xfrm>
              <a:off x="5849938" y="-2465388"/>
              <a:ext cx="90487" cy="88900"/>
            </a:xfrm>
            <a:custGeom>
              <a:avLst/>
              <a:gdLst>
                <a:gd name="T0" fmla="*/ 0 w 57"/>
                <a:gd name="T1" fmla="*/ 0 h 56"/>
                <a:gd name="T2" fmla="*/ 2 w 57"/>
                <a:gd name="T3" fmla="*/ 56 h 56"/>
                <a:gd name="T4" fmla="*/ 57 w 57"/>
                <a:gd name="T5" fmla="*/ 54 h 56"/>
                <a:gd name="T6" fmla="*/ 55 w 57"/>
                <a:gd name="T7" fmla="*/ 0 h 56"/>
                <a:gd name="T8" fmla="*/ 0 w 57"/>
                <a:gd name="T9" fmla="*/ 0 h 56"/>
              </a:gdLst>
              <a:ahLst/>
              <a:cxnLst>
                <a:cxn ang="0">
                  <a:pos x="T0" y="T1"/>
                </a:cxn>
                <a:cxn ang="0">
                  <a:pos x="T2" y="T3"/>
                </a:cxn>
                <a:cxn ang="0">
                  <a:pos x="T4" y="T5"/>
                </a:cxn>
                <a:cxn ang="0">
                  <a:pos x="T6" y="T7"/>
                </a:cxn>
                <a:cxn ang="0">
                  <a:pos x="T8" y="T9"/>
                </a:cxn>
              </a:cxnLst>
              <a:rect l="0" t="0" r="r" b="b"/>
              <a:pathLst>
                <a:path w="57" h="56">
                  <a:moveTo>
                    <a:pt x="0" y="0"/>
                  </a:moveTo>
                  <a:lnTo>
                    <a:pt x="2" y="56"/>
                  </a:lnTo>
                  <a:lnTo>
                    <a:pt x="57" y="54"/>
                  </a:lnTo>
                  <a:lnTo>
                    <a:pt x="5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98" name="Freeform 25"/>
            <p:cNvSpPr>
              <a:spLocks/>
            </p:cNvSpPr>
            <p:nvPr/>
          </p:nvSpPr>
          <p:spPr bwMode="auto">
            <a:xfrm>
              <a:off x="5862638" y="-1944688"/>
              <a:ext cx="87312" cy="87312"/>
            </a:xfrm>
            <a:custGeom>
              <a:avLst/>
              <a:gdLst>
                <a:gd name="T0" fmla="*/ 55 w 55"/>
                <a:gd name="T1" fmla="*/ 0 h 55"/>
                <a:gd name="T2" fmla="*/ 0 w 55"/>
                <a:gd name="T3" fmla="*/ 0 h 55"/>
                <a:gd name="T4" fmla="*/ 0 w 55"/>
                <a:gd name="T5" fmla="*/ 55 h 55"/>
                <a:gd name="T6" fmla="*/ 55 w 55"/>
                <a:gd name="T7" fmla="*/ 53 h 55"/>
                <a:gd name="T8" fmla="*/ 55 w 55"/>
                <a:gd name="T9" fmla="*/ 0 h 55"/>
              </a:gdLst>
              <a:ahLst/>
              <a:cxnLst>
                <a:cxn ang="0">
                  <a:pos x="T0" y="T1"/>
                </a:cxn>
                <a:cxn ang="0">
                  <a:pos x="T2" y="T3"/>
                </a:cxn>
                <a:cxn ang="0">
                  <a:pos x="T4" y="T5"/>
                </a:cxn>
                <a:cxn ang="0">
                  <a:pos x="T6" y="T7"/>
                </a:cxn>
                <a:cxn ang="0">
                  <a:pos x="T8" y="T9"/>
                </a:cxn>
              </a:cxnLst>
              <a:rect l="0" t="0" r="r" b="b"/>
              <a:pathLst>
                <a:path w="55" h="55">
                  <a:moveTo>
                    <a:pt x="55" y="0"/>
                  </a:moveTo>
                  <a:lnTo>
                    <a:pt x="0" y="0"/>
                  </a:lnTo>
                  <a:lnTo>
                    <a:pt x="0" y="55"/>
                  </a:lnTo>
                  <a:lnTo>
                    <a:pt x="55" y="53"/>
                  </a:lnTo>
                  <a:lnTo>
                    <a:pt x="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99" name="Freeform 26"/>
            <p:cNvSpPr>
              <a:spLocks/>
            </p:cNvSpPr>
            <p:nvPr/>
          </p:nvSpPr>
          <p:spPr bwMode="auto">
            <a:xfrm>
              <a:off x="5868988" y="-1600200"/>
              <a:ext cx="92075" cy="90487"/>
            </a:xfrm>
            <a:custGeom>
              <a:avLst/>
              <a:gdLst>
                <a:gd name="T0" fmla="*/ 58 w 58"/>
                <a:gd name="T1" fmla="*/ 55 h 57"/>
                <a:gd name="T2" fmla="*/ 55 w 58"/>
                <a:gd name="T3" fmla="*/ 0 h 57"/>
                <a:gd name="T4" fmla="*/ 0 w 58"/>
                <a:gd name="T5" fmla="*/ 2 h 57"/>
                <a:gd name="T6" fmla="*/ 2 w 58"/>
                <a:gd name="T7" fmla="*/ 57 h 57"/>
                <a:gd name="T8" fmla="*/ 58 w 58"/>
                <a:gd name="T9" fmla="*/ 55 h 57"/>
              </a:gdLst>
              <a:ahLst/>
              <a:cxnLst>
                <a:cxn ang="0">
                  <a:pos x="T0" y="T1"/>
                </a:cxn>
                <a:cxn ang="0">
                  <a:pos x="T2" y="T3"/>
                </a:cxn>
                <a:cxn ang="0">
                  <a:pos x="T4" y="T5"/>
                </a:cxn>
                <a:cxn ang="0">
                  <a:pos x="T6" y="T7"/>
                </a:cxn>
                <a:cxn ang="0">
                  <a:pos x="T8" y="T9"/>
                </a:cxn>
              </a:cxnLst>
              <a:rect l="0" t="0" r="r" b="b"/>
              <a:pathLst>
                <a:path w="58" h="57">
                  <a:moveTo>
                    <a:pt x="58" y="55"/>
                  </a:moveTo>
                  <a:lnTo>
                    <a:pt x="55" y="0"/>
                  </a:lnTo>
                  <a:lnTo>
                    <a:pt x="0" y="2"/>
                  </a:lnTo>
                  <a:lnTo>
                    <a:pt x="2" y="57"/>
                  </a:lnTo>
                  <a:lnTo>
                    <a:pt x="58"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100" name="Freeform 27"/>
            <p:cNvSpPr>
              <a:spLocks/>
            </p:cNvSpPr>
            <p:nvPr/>
          </p:nvSpPr>
          <p:spPr bwMode="auto">
            <a:xfrm>
              <a:off x="6454775" y="-1506538"/>
              <a:ext cx="109537" cy="114300"/>
            </a:xfrm>
            <a:custGeom>
              <a:avLst/>
              <a:gdLst>
                <a:gd name="T0" fmla="*/ 20 w 69"/>
                <a:gd name="T1" fmla="*/ 0 h 72"/>
                <a:gd name="T2" fmla="*/ 0 w 69"/>
                <a:gd name="T3" fmla="*/ 52 h 72"/>
                <a:gd name="T4" fmla="*/ 51 w 69"/>
                <a:gd name="T5" fmla="*/ 72 h 72"/>
                <a:gd name="T6" fmla="*/ 69 w 69"/>
                <a:gd name="T7" fmla="*/ 21 h 72"/>
                <a:gd name="T8" fmla="*/ 20 w 69"/>
                <a:gd name="T9" fmla="*/ 0 h 72"/>
              </a:gdLst>
              <a:ahLst/>
              <a:cxnLst>
                <a:cxn ang="0">
                  <a:pos x="T0" y="T1"/>
                </a:cxn>
                <a:cxn ang="0">
                  <a:pos x="T2" y="T3"/>
                </a:cxn>
                <a:cxn ang="0">
                  <a:pos x="T4" y="T5"/>
                </a:cxn>
                <a:cxn ang="0">
                  <a:pos x="T6" y="T7"/>
                </a:cxn>
                <a:cxn ang="0">
                  <a:pos x="T8" y="T9"/>
                </a:cxn>
              </a:cxnLst>
              <a:rect l="0" t="0" r="r" b="b"/>
              <a:pathLst>
                <a:path w="69" h="72">
                  <a:moveTo>
                    <a:pt x="20" y="0"/>
                  </a:moveTo>
                  <a:lnTo>
                    <a:pt x="0" y="52"/>
                  </a:lnTo>
                  <a:lnTo>
                    <a:pt x="51" y="72"/>
                  </a:lnTo>
                  <a:lnTo>
                    <a:pt x="69" y="21"/>
                  </a:ln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104" name="Freeform 28"/>
            <p:cNvSpPr>
              <a:spLocks/>
            </p:cNvSpPr>
            <p:nvPr/>
          </p:nvSpPr>
          <p:spPr bwMode="auto">
            <a:xfrm>
              <a:off x="5651500" y="-1811338"/>
              <a:ext cx="111125" cy="114300"/>
            </a:xfrm>
            <a:custGeom>
              <a:avLst/>
              <a:gdLst>
                <a:gd name="T0" fmla="*/ 0 w 70"/>
                <a:gd name="T1" fmla="*/ 51 h 72"/>
                <a:gd name="T2" fmla="*/ 49 w 70"/>
                <a:gd name="T3" fmla="*/ 72 h 72"/>
                <a:gd name="T4" fmla="*/ 70 w 70"/>
                <a:gd name="T5" fmla="*/ 18 h 72"/>
                <a:gd name="T6" fmla="*/ 19 w 70"/>
                <a:gd name="T7" fmla="*/ 0 h 72"/>
                <a:gd name="T8" fmla="*/ 0 w 70"/>
                <a:gd name="T9" fmla="*/ 51 h 72"/>
              </a:gdLst>
              <a:ahLst/>
              <a:cxnLst>
                <a:cxn ang="0">
                  <a:pos x="T0" y="T1"/>
                </a:cxn>
                <a:cxn ang="0">
                  <a:pos x="T2" y="T3"/>
                </a:cxn>
                <a:cxn ang="0">
                  <a:pos x="T4" y="T5"/>
                </a:cxn>
                <a:cxn ang="0">
                  <a:pos x="T6" y="T7"/>
                </a:cxn>
                <a:cxn ang="0">
                  <a:pos x="T8" y="T9"/>
                </a:cxn>
              </a:cxnLst>
              <a:rect l="0" t="0" r="r" b="b"/>
              <a:pathLst>
                <a:path w="70" h="72">
                  <a:moveTo>
                    <a:pt x="0" y="51"/>
                  </a:moveTo>
                  <a:lnTo>
                    <a:pt x="49" y="72"/>
                  </a:lnTo>
                  <a:lnTo>
                    <a:pt x="70" y="18"/>
                  </a:lnTo>
                  <a:lnTo>
                    <a:pt x="19" y="0"/>
                  </a:lnTo>
                  <a:lnTo>
                    <a:pt x="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105" name="Freeform 29"/>
            <p:cNvSpPr>
              <a:spLocks/>
            </p:cNvSpPr>
            <p:nvPr/>
          </p:nvSpPr>
          <p:spPr bwMode="auto">
            <a:xfrm>
              <a:off x="6616700" y="-1444625"/>
              <a:ext cx="109537" cy="114300"/>
            </a:xfrm>
            <a:custGeom>
              <a:avLst/>
              <a:gdLst>
                <a:gd name="T0" fmla="*/ 0 w 69"/>
                <a:gd name="T1" fmla="*/ 52 h 72"/>
                <a:gd name="T2" fmla="*/ 49 w 69"/>
                <a:gd name="T3" fmla="*/ 72 h 72"/>
                <a:gd name="T4" fmla="*/ 69 w 69"/>
                <a:gd name="T5" fmla="*/ 21 h 72"/>
                <a:gd name="T6" fmla="*/ 18 w 69"/>
                <a:gd name="T7" fmla="*/ 0 h 72"/>
                <a:gd name="T8" fmla="*/ 0 w 69"/>
                <a:gd name="T9" fmla="*/ 52 h 72"/>
              </a:gdLst>
              <a:ahLst/>
              <a:cxnLst>
                <a:cxn ang="0">
                  <a:pos x="T0" y="T1"/>
                </a:cxn>
                <a:cxn ang="0">
                  <a:pos x="T2" y="T3"/>
                </a:cxn>
                <a:cxn ang="0">
                  <a:pos x="T4" y="T5"/>
                </a:cxn>
                <a:cxn ang="0">
                  <a:pos x="T6" y="T7"/>
                </a:cxn>
                <a:cxn ang="0">
                  <a:pos x="T8" y="T9"/>
                </a:cxn>
              </a:cxnLst>
              <a:rect l="0" t="0" r="r" b="b"/>
              <a:pathLst>
                <a:path w="69" h="72">
                  <a:moveTo>
                    <a:pt x="0" y="52"/>
                  </a:moveTo>
                  <a:lnTo>
                    <a:pt x="49" y="72"/>
                  </a:lnTo>
                  <a:lnTo>
                    <a:pt x="69" y="21"/>
                  </a:lnTo>
                  <a:lnTo>
                    <a:pt x="18" y="0"/>
                  </a:lnTo>
                  <a:lnTo>
                    <a:pt x="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106" name="Freeform 30"/>
            <p:cNvSpPr>
              <a:spLocks/>
            </p:cNvSpPr>
            <p:nvPr/>
          </p:nvSpPr>
          <p:spPr bwMode="auto">
            <a:xfrm>
              <a:off x="6294438" y="-1563688"/>
              <a:ext cx="111125" cy="109537"/>
            </a:xfrm>
            <a:custGeom>
              <a:avLst/>
              <a:gdLst>
                <a:gd name="T0" fmla="*/ 70 w 70"/>
                <a:gd name="T1" fmla="*/ 18 h 69"/>
                <a:gd name="T2" fmla="*/ 19 w 70"/>
                <a:gd name="T3" fmla="*/ 0 h 69"/>
                <a:gd name="T4" fmla="*/ 0 w 70"/>
                <a:gd name="T5" fmla="*/ 51 h 69"/>
                <a:gd name="T6" fmla="*/ 49 w 70"/>
                <a:gd name="T7" fmla="*/ 69 h 69"/>
                <a:gd name="T8" fmla="*/ 70 w 70"/>
                <a:gd name="T9" fmla="*/ 18 h 69"/>
              </a:gdLst>
              <a:ahLst/>
              <a:cxnLst>
                <a:cxn ang="0">
                  <a:pos x="T0" y="T1"/>
                </a:cxn>
                <a:cxn ang="0">
                  <a:pos x="T2" y="T3"/>
                </a:cxn>
                <a:cxn ang="0">
                  <a:pos x="T4" y="T5"/>
                </a:cxn>
                <a:cxn ang="0">
                  <a:pos x="T6" y="T7"/>
                </a:cxn>
                <a:cxn ang="0">
                  <a:pos x="T8" y="T9"/>
                </a:cxn>
              </a:cxnLst>
              <a:rect l="0" t="0" r="r" b="b"/>
              <a:pathLst>
                <a:path w="70" h="69">
                  <a:moveTo>
                    <a:pt x="70" y="18"/>
                  </a:moveTo>
                  <a:lnTo>
                    <a:pt x="19" y="0"/>
                  </a:lnTo>
                  <a:lnTo>
                    <a:pt x="0" y="51"/>
                  </a:lnTo>
                  <a:lnTo>
                    <a:pt x="49" y="69"/>
                  </a:lnTo>
                  <a:lnTo>
                    <a:pt x="7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107" name="Freeform 31"/>
            <p:cNvSpPr>
              <a:spLocks/>
            </p:cNvSpPr>
            <p:nvPr/>
          </p:nvSpPr>
          <p:spPr bwMode="auto">
            <a:xfrm>
              <a:off x="6103938" y="-1625600"/>
              <a:ext cx="139700" cy="171450"/>
            </a:xfrm>
            <a:custGeom>
              <a:avLst/>
              <a:gdLst>
                <a:gd name="T0" fmla="*/ 22 w 88"/>
                <a:gd name="T1" fmla="*/ 43 h 108"/>
                <a:gd name="T2" fmla="*/ 18 w 88"/>
                <a:gd name="T3" fmla="*/ 41 h 108"/>
                <a:gd name="T4" fmla="*/ 0 w 88"/>
                <a:gd name="T5" fmla="*/ 90 h 108"/>
                <a:gd name="T6" fmla="*/ 53 w 88"/>
                <a:gd name="T7" fmla="*/ 108 h 108"/>
                <a:gd name="T8" fmla="*/ 65 w 88"/>
                <a:gd name="T9" fmla="*/ 69 h 108"/>
                <a:gd name="T10" fmla="*/ 69 w 88"/>
                <a:gd name="T11" fmla="*/ 69 h 108"/>
                <a:gd name="T12" fmla="*/ 88 w 88"/>
                <a:gd name="T13" fmla="*/ 18 h 108"/>
                <a:gd name="T14" fmla="*/ 38 w 88"/>
                <a:gd name="T15" fmla="*/ 0 h 108"/>
                <a:gd name="T16" fmla="*/ 22 w 88"/>
                <a:gd name="T17" fmla="*/ 4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08">
                  <a:moveTo>
                    <a:pt x="22" y="43"/>
                  </a:moveTo>
                  <a:lnTo>
                    <a:pt x="18" y="41"/>
                  </a:lnTo>
                  <a:lnTo>
                    <a:pt x="0" y="90"/>
                  </a:lnTo>
                  <a:lnTo>
                    <a:pt x="53" y="108"/>
                  </a:lnTo>
                  <a:lnTo>
                    <a:pt x="65" y="69"/>
                  </a:lnTo>
                  <a:lnTo>
                    <a:pt x="69" y="69"/>
                  </a:lnTo>
                  <a:lnTo>
                    <a:pt x="88" y="18"/>
                  </a:lnTo>
                  <a:lnTo>
                    <a:pt x="38" y="0"/>
                  </a:lnTo>
                  <a:lnTo>
                    <a:pt x="22"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108" name="Freeform 32"/>
            <p:cNvSpPr>
              <a:spLocks/>
            </p:cNvSpPr>
            <p:nvPr/>
          </p:nvSpPr>
          <p:spPr bwMode="auto">
            <a:xfrm>
              <a:off x="5810250" y="-1771650"/>
              <a:ext cx="142875" cy="133350"/>
            </a:xfrm>
            <a:custGeom>
              <a:avLst/>
              <a:gdLst>
                <a:gd name="T0" fmla="*/ 0 w 90"/>
                <a:gd name="T1" fmla="*/ 65 h 84"/>
                <a:gd name="T2" fmla="*/ 52 w 90"/>
                <a:gd name="T3" fmla="*/ 84 h 84"/>
                <a:gd name="T4" fmla="*/ 62 w 90"/>
                <a:gd name="T5" fmla="*/ 55 h 84"/>
                <a:gd name="T6" fmla="*/ 90 w 90"/>
                <a:gd name="T7" fmla="*/ 55 h 84"/>
                <a:gd name="T8" fmla="*/ 90 w 90"/>
                <a:gd name="T9" fmla="*/ 0 h 84"/>
                <a:gd name="T10" fmla="*/ 35 w 90"/>
                <a:gd name="T11" fmla="*/ 2 h 84"/>
                <a:gd name="T12" fmla="*/ 35 w 90"/>
                <a:gd name="T13" fmla="*/ 20 h 84"/>
                <a:gd name="T14" fmla="*/ 21 w 90"/>
                <a:gd name="T15" fmla="*/ 14 h 84"/>
                <a:gd name="T16" fmla="*/ 0 w 90"/>
                <a:gd name="T17" fmla="*/ 6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84">
                  <a:moveTo>
                    <a:pt x="0" y="65"/>
                  </a:moveTo>
                  <a:lnTo>
                    <a:pt x="52" y="84"/>
                  </a:lnTo>
                  <a:lnTo>
                    <a:pt x="62" y="55"/>
                  </a:lnTo>
                  <a:lnTo>
                    <a:pt x="90" y="55"/>
                  </a:lnTo>
                  <a:lnTo>
                    <a:pt x="90" y="0"/>
                  </a:lnTo>
                  <a:lnTo>
                    <a:pt x="35" y="2"/>
                  </a:lnTo>
                  <a:lnTo>
                    <a:pt x="35" y="20"/>
                  </a:lnTo>
                  <a:lnTo>
                    <a:pt x="21" y="14"/>
                  </a:lnTo>
                  <a:lnTo>
                    <a:pt x="0"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109" name="Freeform 33"/>
            <p:cNvSpPr>
              <a:spLocks/>
            </p:cNvSpPr>
            <p:nvPr/>
          </p:nvSpPr>
          <p:spPr bwMode="auto">
            <a:xfrm>
              <a:off x="5973763" y="-1687513"/>
              <a:ext cx="109537" cy="109537"/>
            </a:xfrm>
            <a:custGeom>
              <a:avLst/>
              <a:gdLst>
                <a:gd name="T0" fmla="*/ 69 w 69"/>
                <a:gd name="T1" fmla="*/ 18 h 69"/>
                <a:gd name="T2" fmla="*/ 18 w 69"/>
                <a:gd name="T3" fmla="*/ 0 h 69"/>
                <a:gd name="T4" fmla="*/ 0 w 69"/>
                <a:gd name="T5" fmla="*/ 51 h 69"/>
                <a:gd name="T6" fmla="*/ 49 w 69"/>
                <a:gd name="T7" fmla="*/ 69 h 69"/>
                <a:gd name="T8" fmla="*/ 69 w 69"/>
                <a:gd name="T9" fmla="*/ 18 h 69"/>
              </a:gdLst>
              <a:ahLst/>
              <a:cxnLst>
                <a:cxn ang="0">
                  <a:pos x="T0" y="T1"/>
                </a:cxn>
                <a:cxn ang="0">
                  <a:pos x="T2" y="T3"/>
                </a:cxn>
                <a:cxn ang="0">
                  <a:pos x="T4" y="T5"/>
                </a:cxn>
                <a:cxn ang="0">
                  <a:pos x="T6" y="T7"/>
                </a:cxn>
                <a:cxn ang="0">
                  <a:pos x="T8" y="T9"/>
                </a:cxn>
              </a:cxnLst>
              <a:rect l="0" t="0" r="r" b="b"/>
              <a:pathLst>
                <a:path w="69" h="69">
                  <a:moveTo>
                    <a:pt x="69" y="18"/>
                  </a:moveTo>
                  <a:lnTo>
                    <a:pt x="18" y="0"/>
                  </a:lnTo>
                  <a:lnTo>
                    <a:pt x="0" y="51"/>
                  </a:lnTo>
                  <a:lnTo>
                    <a:pt x="49" y="69"/>
                  </a:lnTo>
                  <a:lnTo>
                    <a:pt x="6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sp>
          <p:nvSpPr>
            <p:cNvPr id="110" name="Freeform 34"/>
            <p:cNvSpPr>
              <a:spLocks noEditPoints="1"/>
            </p:cNvSpPr>
            <p:nvPr/>
          </p:nvSpPr>
          <p:spPr bwMode="auto">
            <a:xfrm>
              <a:off x="6753225" y="-1708150"/>
              <a:ext cx="1136650" cy="1138237"/>
            </a:xfrm>
            <a:custGeom>
              <a:avLst/>
              <a:gdLst>
                <a:gd name="T0" fmla="*/ 175 w 350"/>
                <a:gd name="T1" fmla="*/ 0 h 350"/>
                <a:gd name="T2" fmla="*/ 78 w 350"/>
                <a:gd name="T3" fmla="*/ 29 h 350"/>
                <a:gd name="T4" fmla="*/ 78 w 350"/>
                <a:gd name="T5" fmla="*/ 29 h 350"/>
                <a:gd name="T6" fmla="*/ 57 w 350"/>
                <a:gd name="T7" fmla="*/ 46 h 350"/>
                <a:gd name="T8" fmla="*/ 57 w 350"/>
                <a:gd name="T9" fmla="*/ 46 h 350"/>
                <a:gd name="T10" fmla="*/ 17 w 350"/>
                <a:gd name="T11" fmla="*/ 100 h 350"/>
                <a:gd name="T12" fmla="*/ 17 w 350"/>
                <a:gd name="T13" fmla="*/ 100 h 350"/>
                <a:gd name="T14" fmla="*/ 7 w 350"/>
                <a:gd name="T15" fmla="*/ 125 h 350"/>
                <a:gd name="T16" fmla="*/ 8 w 350"/>
                <a:gd name="T17" fmla="*/ 125 h 350"/>
                <a:gd name="T18" fmla="*/ 0 w 350"/>
                <a:gd name="T19" fmla="*/ 175 h 350"/>
                <a:gd name="T20" fmla="*/ 2 w 350"/>
                <a:gd name="T21" fmla="*/ 195 h 350"/>
                <a:gd name="T22" fmla="*/ 1 w 350"/>
                <a:gd name="T23" fmla="*/ 195 h 350"/>
                <a:gd name="T24" fmla="*/ 6 w 350"/>
                <a:gd name="T25" fmla="*/ 222 h 350"/>
                <a:gd name="T26" fmla="*/ 7 w 350"/>
                <a:gd name="T27" fmla="*/ 222 h 350"/>
                <a:gd name="T28" fmla="*/ 175 w 350"/>
                <a:gd name="T29" fmla="*/ 350 h 350"/>
                <a:gd name="T30" fmla="*/ 350 w 350"/>
                <a:gd name="T31" fmla="*/ 175 h 350"/>
                <a:gd name="T32" fmla="*/ 175 w 350"/>
                <a:gd name="T33" fmla="*/ 0 h 350"/>
                <a:gd name="T34" fmla="*/ 175 w 350"/>
                <a:gd name="T35" fmla="*/ 323 h 350"/>
                <a:gd name="T36" fmla="*/ 27 w 350"/>
                <a:gd name="T37" fmla="*/ 175 h 350"/>
                <a:gd name="T38" fmla="*/ 175 w 350"/>
                <a:gd name="T39" fmla="*/ 27 h 350"/>
                <a:gd name="T40" fmla="*/ 323 w 350"/>
                <a:gd name="T41" fmla="*/ 175 h 350"/>
                <a:gd name="T42" fmla="*/ 175 w 350"/>
                <a:gd name="T43" fmla="*/ 323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0" h="350">
                  <a:moveTo>
                    <a:pt x="175" y="0"/>
                  </a:moveTo>
                  <a:cubicBezTo>
                    <a:pt x="139" y="0"/>
                    <a:pt x="106" y="11"/>
                    <a:pt x="78" y="29"/>
                  </a:cubicBezTo>
                  <a:cubicBezTo>
                    <a:pt x="78" y="29"/>
                    <a:pt x="78" y="29"/>
                    <a:pt x="78" y="29"/>
                  </a:cubicBezTo>
                  <a:cubicBezTo>
                    <a:pt x="57" y="46"/>
                    <a:pt x="57" y="46"/>
                    <a:pt x="57" y="46"/>
                  </a:cubicBezTo>
                  <a:cubicBezTo>
                    <a:pt x="57" y="46"/>
                    <a:pt x="57" y="46"/>
                    <a:pt x="57" y="46"/>
                  </a:cubicBezTo>
                  <a:cubicBezTo>
                    <a:pt x="41" y="61"/>
                    <a:pt x="27" y="80"/>
                    <a:pt x="17" y="100"/>
                  </a:cubicBezTo>
                  <a:cubicBezTo>
                    <a:pt x="17" y="100"/>
                    <a:pt x="17" y="100"/>
                    <a:pt x="17" y="100"/>
                  </a:cubicBezTo>
                  <a:cubicBezTo>
                    <a:pt x="7" y="125"/>
                    <a:pt x="7" y="125"/>
                    <a:pt x="7" y="125"/>
                  </a:cubicBezTo>
                  <a:cubicBezTo>
                    <a:pt x="8" y="125"/>
                    <a:pt x="8" y="125"/>
                    <a:pt x="8" y="125"/>
                  </a:cubicBezTo>
                  <a:cubicBezTo>
                    <a:pt x="3" y="141"/>
                    <a:pt x="0" y="158"/>
                    <a:pt x="0" y="175"/>
                  </a:cubicBezTo>
                  <a:cubicBezTo>
                    <a:pt x="0" y="182"/>
                    <a:pt x="1" y="189"/>
                    <a:pt x="2" y="195"/>
                  </a:cubicBezTo>
                  <a:cubicBezTo>
                    <a:pt x="1" y="195"/>
                    <a:pt x="1" y="195"/>
                    <a:pt x="1" y="195"/>
                  </a:cubicBezTo>
                  <a:cubicBezTo>
                    <a:pt x="6" y="222"/>
                    <a:pt x="6" y="222"/>
                    <a:pt x="6" y="222"/>
                  </a:cubicBezTo>
                  <a:cubicBezTo>
                    <a:pt x="7" y="222"/>
                    <a:pt x="7" y="222"/>
                    <a:pt x="7" y="222"/>
                  </a:cubicBezTo>
                  <a:cubicBezTo>
                    <a:pt x="27" y="295"/>
                    <a:pt x="95" y="350"/>
                    <a:pt x="175" y="350"/>
                  </a:cubicBezTo>
                  <a:cubicBezTo>
                    <a:pt x="272" y="350"/>
                    <a:pt x="350" y="271"/>
                    <a:pt x="350" y="175"/>
                  </a:cubicBezTo>
                  <a:cubicBezTo>
                    <a:pt x="350" y="79"/>
                    <a:pt x="272" y="0"/>
                    <a:pt x="175" y="0"/>
                  </a:cubicBezTo>
                  <a:close/>
                  <a:moveTo>
                    <a:pt x="175" y="323"/>
                  </a:moveTo>
                  <a:cubicBezTo>
                    <a:pt x="94" y="323"/>
                    <a:pt x="27" y="257"/>
                    <a:pt x="27" y="175"/>
                  </a:cubicBezTo>
                  <a:cubicBezTo>
                    <a:pt x="27" y="93"/>
                    <a:pt x="94" y="27"/>
                    <a:pt x="175" y="27"/>
                  </a:cubicBezTo>
                  <a:cubicBezTo>
                    <a:pt x="257" y="27"/>
                    <a:pt x="323" y="93"/>
                    <a:pt x="323" y="175"/>
                  </a:cubicBezTo>
                  <a:cubicBezTo>
                    <a:pt x="323" y="257"/>
                    <a:pt x="257" y="323"/>
                    <a:pt x="175" y="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4BBB"/>
                </a:solidFill>
              </a:endParaRPr>
            </a:p>
          </p:txBody>
        </p:sp>
      </p:grpSp>
      <p:cxnSp>
        <p:nvCxnSpPr>
          <p:cNvPr id="203" name="Straight Connector 202"/>
          <p:cNvCxnSpPr/>
          <p:nvPr/>
        </p:nvCxnSpPr>
        <p:spPr>
          <a:xfrm>
            <a:off x="3884508" y="6399624"/>
            <a:ext cx="7868618"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E97221DE-FA97-4345-A879-CC7E1BA33B08}"/>
              </a:ext>
            </a:extLst>
          </p:cNvPr>
          <p:cNvPicPr>
            <a:picLocks noChangeAspect="1"/>
          </p:cNvPicPr>
          <p:nvPr/>
        </p:nvPicPr>
        <p:blipFill>
          <a:blip r:embed="rId3"/>
          <a:stretch>
            <a:fillRect/>
          </a:stretch>
        </p:blipFill>
        <p:spPr>
          <a:xfrm>
            <a:off x="2951348" y="1648479"/>
            <a:ext cx="8627666" cy="4199016"/>
          </a:xfrm>
          <a:prstGeom prst="rect">
            <a:avLst/>
          </a:prstGeom>
          <a:solidFill>
            <a:schemeClr val="tx1"/>
          </a:solidFill>
        </p:spPr>
      </p:pic>
    </p:spTree>
    <p:extLst>
      <p:ext uri="{BB962C8B-B14F-4D97-AF65-F5344CB8AC3E}">
        <p14:creationId xmlns:p14="http://schemas.microsoft.com/office/powerpoint/2010/main" val="2062427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Rectangle 107"/>
          <p:cNvSpPr/>
          <p:nvPr/>
        </p:nvSpPr>
        <p:spPr bwMode="auto">
          <a:xfrm>
            <a:off x="4594176" y="3860094"/>
            <a:ext cx="6710737" cy="2407585"/>
          </a:xfrm>
          <a:prstGeom prst="rect">
            <a:avLst/>
          </a:pr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Rectangle 78"/>
          <p:cNvSpPr/>
          <p:nvPr/>
        </p:nvSpPr>
        <p:spPr bwMode="auto">
          <a:xfrm>
            <a:off x="2" y="3860094"/>
            <a:ext cx="4594177" cy="24075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p:cNvSpPr>
            <a:spLocks noGrp="1"/>
          </p:cNvSpPr>
          <p:nvPr>
            <p:ph type="title"/>
          </p:nvPr>
        </p:nvSpPr>
        <p:spPr>
          <a:xfrm>
            <a:off x="269241" y="289957"/>
            <a:ext cx="8831962" cy="899537"/>
          </a:xfrm>
        </p:spPr>
        <p:txBody>
          <a:bodyPr/>
          <a:lstStyle/>
          <a:p>
            <a:r>
              <a:rPr lang="en-US" dirty="0">
                <a:solidFill>
                  <a:srgbClr val="004BBB"/>
                </a:solidFill>
              </a:rPr>
              <a:t>Detect threats across the kill chain</a:t>
            </a:r>
            <a:br>
              <a:rPr lang="en-US" dirty="0">
                <a:solidFill>
                  <a:srgbClr val="004BBB"/>
                </a:solidFill>
              </a:rPr>
            </a:br>
            <a:endParaRPr lang="en-US" dirty="0">
              <a:solidFill>
                <a:srgbClr val="004BBB"/>
              </a:solidFill>
            </a:endParaRPr>
          </a:p>
        </p:txBody>
      </p:sp>
      <p:grpSp>
        <p:nvGrpSpPr>
          <p:cNvPr id="18" name="Group 17"/>
          <p:cNvGrpSpPr/>
          <p:nvPr/>
        </p:nvGrpSpPr>
        <p:grpSpPr>
          <a:xfrm>
            <a:off x="2322663" y="1732393"/>
            <a:ext cx="1229243" cy="1229243"/>
            <a:chOff x="5464408" y="3068191"/>
            <a:chExt cx="1253892" cy="1253892"/>
          </a:xfrm>
        </p:grpSpPr>
        <p:sp>
          <p:nvSpPr>
            <p:cNvPr id="45" name="Oval 44"/>
            <p:cNvSpPr/>
            <p:nvPr/>
          </p:nvSpPr>
          <p:spPr bwMode="auto">
            <a:xfrm>
              <a:off x="5464408" y="3068191"/>
              <a:ext cx="1253892" cy="1253892"/>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dirty="0">
                <a:solidFill>
                  <a:srgbClr val="004BBB"/>
                </a:solidFill>
                <a:latin typeface="Segoe UI Light"/>
                <a:ea typeface="Segoe UI" pitchFamily="34" charset="0"/>
                <a:cs typeface="Segoe UI" pitchFamily="34" charset="0"/>
              </a:endParaRPr>
            </a:p>
          </p:txBody>
        </p:sp>
        <p:sp>
          <p:nvSpPr>
            <p:cNvPr id="16" name="Freeform 5"/>
            <p:cNvSpPr>
              <a:spLocks noEditPoints="1"/>
            </p:cNvSpPr>
            <p:nvPr/>
          </p:nvSpPr>
          <p:spPr bwMode="auto">
            <a:xfrm>
              <a:off x="5834179" y="3417218"/>
              <a:ext cx="561975" cy="546311"/>
            </a:xfrm>
            <a:custGeom>
              <a:avLst/>
              <a:gdLst>
                <a:gd name="T0" fmla="*/ 687 w 1422"/>
                <a:gd name="T1" fmla="*/ 143 h 1381"/>
                <a:gd name="T2" fmla="*/ 956 w 1422"/>
                <a:gd name="T3" fmla="*/ 214 h 1381"/>
                <a:gd name="T4" fmla="*/ 883 w 1422"/>
                <a:gd name="T5" fmla="*/ 286 h 1381"/>
                <a:gd name="T6" fmla="*/ 883 w 1422"/>
                <a:gd name="T7" fmla="*/ 333 h 1381"/>
                <a:gd name="T8" fmla="*/ 687 w 1422"/>
                <a:gd name="T9" fmla="*/ 286 h 1381"/>
                <a:gd name="T10" fmla="*/ 246 w 1422"/>
                <a:gd name="T11" fmla="*/ 714 h 1381"/>
                <a:gd name="T12" fmla="*/ 687 w 1422"/>
                <a:gd name="T13" fmla="*/ 1143 h 1381"/>
                <a:gd name="T14" fmla="*/ 1128 w 1422"/>
                <a:gd name="T15" fmla="*/ 714 h 1381"/>
                <a:gd name="T16" fmla="*/ 1079 w 1422"/>
                <a:gd name="T17" fmla="*/ 524 h 1381"/>
                <a:gd name="T18" fmla="*/ 1128 w 1422"/>
                <a:gd name="T19" fmla="*/ 524 h 1381"/>
                <a:gd name="T20" fmla="*/ 1201 w 1422"/>
                <a:gd name="T21" fmla="*/ 452 h 1381"/>
                <a:gd name="T22" fmla="*/ 1275 w 1422"/>
                <a:gd name="T23" fmla="*/ 714 h 1381"/>
                <a:gd name="T24" fmla="*/ 687 w 1422"/>
                <a:gd name="T25" fmla="*/ 1286 h 1381"/>
                <a:gd name="T26" fmla="*/ 99 w 1422"/>
                <a:gd name="T27" fmla="*/ 714 h 1381"/>
                <a:gd name="T28" fmla="*/ 687 w 1422"/>
                <a:gd name="T29" fmla="*/ 143 h 1381"/>
                <a:gd name="T30" fmla="*/ 785 w 1422"/>
                <a:gd name="T31" fmla="*/ 714 h 1381"/>
                <a:gd name="T32" fmla="*/ 687 w 1422"/>
                <a:gd name="T33" fmla="*/ 809 h 1381"/>
                <a:gd name="T34" fmla="*/ 589 w 1422"/>
                <a:gd name="T35" fmla="*/ 714 h 1381"/>
                <a:gd name="T36" fmla="*/ 687 w 1422"/>
                <a:gd name="T37" fmla="*/ 619 h 1381"/>
                <a:gd name="T38" fmla="*/ 711 w 1422"/>
                <a:gd name="T39" fmla="*/ 631 h 1381"/>
                <a:gd name="T40" fmla="*/ 650 w 1422"/>
                <a:gd name="T41" fmla="*/ 690 h 1381"/>
                <a:gd name="T42" fmla="*/ 650 w 1422"/>
                <a:gd name="T43" fmla="*/ 750 h 1381"/>
                <a:gd name="T44" fmla="*/ 687 w 1422"/>
                <a:gd name="T45" fmla="*/ 762 h 1381"/>
                <a:gd name="T46" fmla="*/ 723 w 1422"/>
                <a:gd name="T47" fmla="*/ 750 h 1381"/>
                <a:gd name="T48" fmla="*/ 785 w 1422"/>
                <a:gd name="T49" fmla="*/ 690 h 1381"/>
                <a:gd name="T50" fmla="*/ 785 w 1422"/>
                <a:gd name="T51" fmla="*/ 714 h 1381"/>
                <a:gd name="T52" fmla="*/ 1030 w 1422"/>
                <a:gd name="T53" fmla="*/ 714 h 1381"/>
                <a:gd name="T54" fmla="*/ 687 w 1422"/>
                <a:gd name="T55" fmla="*/ 1048 h 1381"/>
                <a:gd name="T56" fmla="*/ 344 w 1422"/>
                <a:gd name="T57" fmla="*/ 714 h 1381"/>
                <a:gd name="T58" fmla="*/ 687 w 1422"/>
                <a:gd name="T59" fmla="*/ 381 h 1381"/>
                <a:gd name="T60" fmla="*/ 883 w 1422"/>
                <a:gd name="T61" fmla="*/ 452 h 1381"/>
                <a:gd name="T62" fmla="*/ 883 w 1422"/>
                <a:gd name="T63" fmla="*/ 464 h 1381"/>
                <a:gd name="T64" fmla="*/ 785 w 1422"/>
                <a:gd name="T65" fmla="*/ 559 h 1381"/>
                <a:gd name="T66" fmla="*/ 687 w 1422"/>
                <a:gd name="T67" fmla="*/ 524 h 1381"/>
                <a:gd name="T68" fmla="*/ 491 w 1422"/>
                <a:gd name="T69" fmla="*/ 714 h 1381"/>
                <a:gd name="T70" fmla="*/ 687 w 1422"/>
                <a:gd name="T71" fmla="*/ 905 h 1381"/>
                <a:gd name="T72" fmla="*/ 883 w 1422"/>
                <a:gd name="T73" fmla="*/ 714 h 1381"/>
                <a:gd name="T74" fmla="*/ 858 w 1422"/>
                <a:gd name="T75" fmla="*/ 619 h 1381"/>
                <a:gd name="T76" fmla="*/ 956 w 1422"/>
                <a:gd name="T77" fmla="*/ 524 h 1381"/>
                <a:gd name="T78" fmla="*/ 969 w 1422"/>
                <a:gd name="T79" fmla="*/ 524 h 1381"/>
                <a:gd name="T80" fmla="*/ 1030 w 1422"/>
                <a:gd name="T81" fmla="*/ 714 h 1381"/>
                <a:gd name="T82" fmla="*/ 1177 w 1422"/>
                <a:gd name="T83" fmla="*/ 333 h 1381"/>
                <a:gd name="T84" fmla="*/ 1189 w 1422"/>
                <a:gd name="T85" fmla="*/ 333 h 1381"/>
                <a:gd name="T86" fmla="*/ 1091 w 1422"/>
                <a:gd name="T87" fmla="*/ 429 h 1381"/>
                <a:gd name="T88" fmla="*/ 981 w 1422"/>
                <a:gd name="T89" fmla="*/ 429 h 1381"/>
                <a:gd name="T90" fmla="*/ 981 w 1422"/>
                <a:gd name="T91" fmla="*/ 333 h 1381"/>
                <a:gd name="T92" fmla="*/ 1079 w 1422"/>
                <a:gd name="T93" fmla="*/ 238 h 1381"/>
                <a:gd name="T94" fmla="*/ 1079 w 1422"/>
                <a:gd name="T95" fmla="*/ 238 h 1381"/>
                <a:gd name="T96" fmla="*/ 1079 w 1422"/>
                <a:gd name="T97" fmla="*/ 333 h 1381"/>
                <a:gd name="T98" fmla="*/ 1177 w 1422"/>
                <a:gd name="T99" fmla="*/ 333 h 1381"/>
                <a:gd name="T100" fmla="*/ 687 w 1422"/>
                <a:gd name="T101" fmla="*/ 1381 h 1381"/>
                <a:gd name="T102" fmla="*/ 1373 w 1422"/>
                <a:gd name="T103" fmla="*/ 714 h 1381"/>
                <a:gd name="T104" fmla="*/ 1275 w 1422"/>
                <a:gd name="T105" fmla="*/ 381 h 1381"/>
                <a:gd name="T106" fmla="*/ 1422 w 1422"/>
                <a:gd name="T107" fmla="*/ 238 h 1381"/>
                <a:gd name="T108" fmla="*/ 1177 w 1422"/>
                <a:gd name="T109" fmla="*/ 238 h 1381"/>
                <a:gd name="T110" fmla="*/ 1177 w 1422"/>
                <a:gd name="T111" fmla="*/ 0 h 1381"/>
                <a:gd name="T112" fmla="*/ 1030 w 1422"/>
                <a:gd name="T113" fmla="*/ 143 h 1381"/>
                <a:gd name="T114" fmla="*/ 687 w 1422"/>
                <a:gd name="T115" fmla="*/ 48 h 1381"/>
                <a:gd name="T116" fmla="*/ 0 w 1422"/>
                <a:gd name="T117" fmla="*/ 714 h 1381"/>
                <a:gd name="T118" fmla="*/ 687 w 1422"/>
                <a:gd name="T119" fmla="*/ 1381 h 1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2" h="1381">
                  <a:moveTo>
                    <a:pt x="687" y="143"/>
                  </a:moveTo>
                  <a:cubicBezTo>
                    <a:pt x="785" y="143"/>
                    <a:pt x="871" y="167"/>
                    <a:pt x="956" y="214"/>
                  </a:cubicBezTo>
                  <a:cubicBezTo>
                    <a:pt x="883" y="286"/>
                    <a:pt x="883" y="286"/>
                    <a:pt x="883" y="286"/>
                  </a:cubicBezTo>
                  <a:cubicBezTo>
                    <a:pt x="883" y="333"/>
                    <a:pt x="883" y="333"/>
                    <a:pt x="883" y="333"/>
                  </a:cubicBezTo>
                  <a:cubicBezTo>
                    <a:pt x="822" y="309"/>
                    <a:pt x="760" y="286"/>
                    <a:pt x="687" y="286"/>
                  </a:cubicBezTo>
                  <a:cubicBezTo>
                    <a:pt x="442" y="286"/>
                    <a:pt x="246" y="488"/>
                    <a:pt x="246" y="714"/>
                  </a:cubicBezTo>
                  <a:cubicBezTo>
                    <a:pt x="246" y="952"/>
                    <a:pt x="442" y="1143"/>
                    <a:pt x="687" y="1143"/>
                  </a:cubicBezTo>
                  <a:cubicBezTo>
                    <a:pt x="932" y="1143"/>
                    <a:pt x="1128" y="952"/>
                    <a:pt x="1128" y="714"/>
                  </a:cubicBezTo>
                  <a:cubicBezTo>
                    <a:pt x="1128" y="655"/>
                    <a:pt x="1116" y="583"/>
                    <a:pt x="1079" y="524"/>
                  </a:cubicBezTo>
                  <a:cubicBezTo>
                    <a:pt x="1128" y="524"/>
                    <a:pt x="1128" y="524"/>
                    <a:pt x="1128" y="524"/>
                  </a:cubicBezTo>
                  <a:cubicBezTo>
                    <a:pt x="1201" y="452"/>
                    <a:pt x="1201" y="452"/>
                    <a:pt x="1201" y="452"/>
                  </a:cubicBezTo>
                  <a:cubicBezTo>
                    <a:pt x="1250" y="536"/>
                    <a:pt x="1275" y="631"/>
                    <a:pt x="1275" y="714"/>
                  </a:cubicBezTo>
                  <a:cubicBezTo>
                    <a:pt x="1275" y="1036"/>
                    <a:pt x="1005" y="1286"/>
                    <a:pt x="687" y="1286"/>
                  </a:cubicBezTo>
                  <a:cubicBezTo>
                    <a:pt x="356" y="1286"/>
                    <a:pt x="99" y="1036"/>
                    <a:pt x="99" y="714"/>
                  </a:cubicBezTo>
                  <a:cubicBezTo>
                    <a:pt x="99" y="405"/>
                    <a:pt x="356" y="143"/>
                    <a:pt x="687" y="143"/>
                  </a:cubicBezTo>
                  <a:close/>
                  <a:moveTo>
                    <a:pt x="785" y="714"/>
                  </a:moveTo>
                  <a:cubicBezTo>
                    <a:pt x="785" y="774"/>
                    <a:pt x="736" y="809"/>
                    <a:pt x="687" y="809"/>
                  </a:cubicBezTo>
                  <a:cubicBezTo>
                    <a:pt x="625" y="809"/>
                    <a:pt x="589" y="774"/>
                    <a:pt x="589" y="714"/>
                  </a:cubicBezTo>
                  <a:cubicBezTo>
                    <a:pt x="589" y="667"/>
                    <a:pt x="625" y="619"/>
                    <a:pt x="687" y="619"/>
                  </a:cubicBezTo>
                  <a:cubicBezTo>
                    <a:pt x="699" y="619"/>
                    <a:pt x="699" y="631"/>
                    <a:pt x="711" y="631"/>
                  </a:cubicBezTo>
                  <a:cubicBezTo>
                    <a:pt x="650" y="690"/>
                    <a:pt x="650" y="690"/>
                    <a:pt x="650" y="690"/>
                  </a:cubicBezTo>
                  <a:cubicBezTo>
                    <a:pt x="625" y="702"/>
                    <a:pt x="625" y="738"/>
                    <a:pt x="650" y="750"/>
                  </a:cubicBezTo>
                  <a:cubicBezTo>
                    <a:pt x="662" y="762"/>
                    <a:pt x="674" y="762"/>
                    <a:pt x="687" y="762"/>
                  </a:cubicBezTo>
                  <a:cubicBezTo>
                    <a:pt x="699" y="762"/>
                    <a:pt x="711" y="762"/>
                    <a:pt x="723" y="750"/>
                  </a:cubicBezTo>
                  <a:cubicBezTo>
                    <a:pt x="785" y="690"/>
                    <a:pt x="785" y="690"/>
                    <a:pt x="785" y="690"/>
                  </a:cubicBezTo>
                  <a:cubicBezTo>
                    <a:pt x="785" y="702"/>
                    <a:pt x="785" y="714"/>
                    <a:pt x="785" y="714"/>
                  </a:cubicBezTo>
                  <a:close/>
                  <a:moveTo>
                    <a:pt x="1030" y="714"/>
                  </a:moveTo>
                  <a:cubicBezTo>
                    <a:pt x="1030" y="905"/>
                    <a:pt x="871" y="1048"/>
                    <a:pt x="687" y="1048"/>
                  </a:cubicBezTo>
                  <a:cubicBezTo>
                    <a:pt x="491" y="1048"/>
                    <a:pt x="344" y="905"/>
                    <a:pt x="344" y="714"/>
                  </a:cubicBezTo>
                  <a:cubicBezTo>
                    <a:pt x="344" y="536"/>
                    <a:pt x="491" y="381"/>
                    <a:pt x="687" y="381"/>
                  </a:cubicBezTo>
                  <a:cubicBezTo>
                    <a:pt x="760" y="381"/>
                    <a:pt x="822" y="405"/>
                    <a:pt x="883" y="452"/>
                  </a:cubicBezTo>
                  <a:cubicBezTo>
                    <a:pt x="883" y="464"/>
                    <a:pt x="883" y="464"/>
                    <a:pt x="883" y="464"/>
                  </a:cubicBezTo>
                  <a:cubicBezTo>
                    <a:pt x="785" y="559"/>
                    <a:pt x="785" y="559"/>
                    <a:pt x="785" y="559"/>
                  </a:cubicBezTo>
                  <a:cubicBezTo>
                    <a:pt x="760" y="536"/>
                    <a:pt x="723" y="524"/>
                    <a:pt x="687" y="524"/>
                  </a:cubicBezTo>
                  <a:cubicBezTo>
                    <a:pt x="576" y="524"/>
                    <a:pt x="491" y="619"/>
                    <a:pt x="491" y="714"/>
                  </a:cubicBezTo>
                  <a:cubicBezTo>
                    <a:pt x="491" y="821"/>
                    <a:pt x="576" y="905"/>
                    <a:pt x="687" y="905"/>
                  </a:cubicBezTo>
                  <a:cubicBezTo>
                    <a:pt x="797" y="905"/>
                    <a:pt x="883" y="821"/>
                    <a:pt x="883" y="714"/>
                  </a:cubicBezTo>
                  <a:cubicBezTo>
                    <a:pt x="883" y="690"/>
                    <a:pt x="871" y="655"/>
                    <a:pt x="858" y="619"/>
                  </a:cubicBezTo>
                  <a:cubicBezTo>
                    <a:pt x="956" y="524"/>
                    <a:pt x="956" y="524"/>
                    <a:pt x="956" y="524"/>
                  </a:cubicBezTo>
                  <a:cubicBezTo>
                    <a:pt x="969" y="524"/>
                    <a:pt x="969" y="524"/>
                    <a:pt x="969" y="524"/>
                  </a:cubicBezTo>
                  <a:cubicBezTo>
                    <a:pt x="1005" y="583"/>
                    <a:pt x="1030" y="655"/>
                    <a:pt x="1030" y="714"/>
                  </a:cubicBezTo>
                  <a:close/>
                  <a:moveTo>
                    <a:pt x="1177" y="333"/>
                  </a:moveTo>
                  <a:cubicBezTo>
                    <a:pt x="1189" y="333"/>
                    <a:pt x="1189" y="333"/>
                    <a:pt x="1189" y="333"/>
                  </a:cubicBezTo>
                  <a:cubicBezTo>
                    <a:pt x="1091" y="429"/>
                    <a:pt x="1091" y="429"/>
                    <a:pt x="1091" y="429"/>
                  </a:cubicBezTo>
                  <a:cubicBezTo>
                    <a:pt x="981" y="429"/>
                    <a:pt x="981" y="429"/>
                    <a:pt x="981" y="429"/>
                  </a:cubicBezTo>
                  <a:cubicBezTo>
                    <a:pt x="981" y="333"/>
                    <a:pt x="981" y="333"/>
                    <a:pt x="981" y="333"/>
                  </a:cubicBezTo>
                  <a:cubicBezTo>
                    <a:pt x="1079" y="238"/>
                    <a:pt x="1079" y="238"/>
                    <a:pt x="1079" y="238"/>
                  </a:cubicBezTo>
                  <a:cubicBezTo>
                    <a:pt x="1079" y="238"/>
                    <a:pt x="1079" y="238"/>
                    <a:pt x="1079" y="238"/>
                  </a:cubicBezTo>
                  <a:cubicBezTo>
                    <a:pt x="1079" y="333"/>
                    <a:pt x="1079" y="333"/>
                    <a:pt x="1079" y="333"/>
                  </a:cubicBezTo>
                  <a:lnTo>
                    <a:pt x="1177" y="333"/>
                  </a:lnTo>
                  <a:close/>
                  <a:moveTo>
                    <a:pt x="687" y="1381"/>
                  </a:moveTo>
                  <a:cubicBezTo>
                    <a:pt x="1067" y="1381"/>
                    <a:pt x="1373" y="1083"/>
                    <a:pt x="1373" y="714"/>
                  </a:cubicBezTo>
                  <a:cubicBezTo>
                    <a:pt x="1373" y="595"/>
                    <a:pt x="1336" y="488"/>
                    <a:pt x="1275" y="381"/>
                  </a:cubicBezTo>
                  <a:cubicBezTo>
                    <a:pt x="1422" y="238"/>
                    <a:pt x="1422" y="238"/>
                    <a:pt x="1422" y="238"/>
                  </a:cubicBezTo>
                  <a:cubicBezTo>
                    <a:pt x="1177" y="238"/>
                    <a:pt x="1177" y="238"/>
                    <a:pt x="1177" y="238"/>
                  </a:cubicBezTo>
                  <a:cubicBezTo>
                    <a:pt x="1177" y="0"/>
                    <a:pt x="1177" y="0"/>
                    <a:pt x="1177" y="0"/>
                  </a:cubicBezTo>
                  <a:cubicBezTo>
                    <a:pt x="1030" y="143"/>
                    <a:pt x="1030" y="143"/>
                    <a:pt x="1030" y="143"/>
                  </a:cubicBezTo>
                  <a:cubicBezTo>
                    <a:pt x="932" y="83"/>
                    <a:pt x="809" y="48"/>
                    <a:pt x="687" y="48"/>
                  </a:cubicBezTo>
                  <a:cubicBezTo>
                    <a:pt x="307" y="48"/>
                    <a:pt x="0" y="357"/>
                    <a:pt x="0" y="714"/>
                  </a:cubicBezTo>
                  <a:cubicBezTo>
                    <a:pt x="0" y="1083"/>
                    <a:pt x="307" y="1381"/>
                    <a:pt x="687" y="1381"/>
                  </a:cubicBezTo>
                  <a:close/>
                </a:path>
              </a:pathLst>
            </a:custGeom>
            <a:solidFill>
              <a:srgbClr val="31112A"/>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004BBB"/>
                </a:solidFill>
                <a:latin typeface="Segoe UI Semilight"/>
              </a:endParaRPr>
            </a:p>
          </p:txBody>
        </p:sp>
      </p:grpSp>
      <p:cxnSp>
        <p:nvCxnSpPr>
          <p:cNvPr id="20" name="Straight Connector 19"/>
          <p:cNvCxnSpPr/>
          <p:nvPr/>
        </p:nvCxnSpPr>
        <p:spPr>
          <a:xfrm>
            <a:off x="309481" y="2352902"/>
            <a:ext cx="1863995" cy="0"/>
          </a:xfrm>
          <a:prstGeom prst="line">
            <a:avLst/>
          </a:prstGeom>
          <a:ln w="25400">
            <a:solidFill>
              <a:schemeClr val="accent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3539456" y="2352902"/>
            <a:ext cx="1863995" cy="0"/>
          </a:xfrm>
          <a:prstGeom prst="line">
            <a:avLst/>
          </a:prstGeom>
          <a:ln w="25400">
            <a:solidFill>
              <a:schemeClr val="accent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61" name="Oval 60"/>
          <p:cNvSpPr/>
          <p:nvPr/>
        </p:nvSpPr>
        <p:spPr bwMode="auto">
          <a:xfrm>
            <a:off x="5559970" y="1732393"/>
            <a:ext cx="1229243" cy="1229243"/>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dirty="0">
              <a:solidFill>
                <a:srgbClr val="004BBB"/>
              </a:solidFill>
              <a:latin typeface="Segoe UI Light"/>
              <a:ea typeface="Segoe UI" pitchFamily="34" charset="0"/>
              <a:cs typeface="Segoe UI" pitchFamily="34" charset="0"/>
            </a:endParaRPr>
          </a:p>
        </p:txBody>
      </p:sp>
      <p:cxnSp>
        <p:nvCxnSpPr>
          <p:cNvPr id="65" name="Straight Connector 64"/>
          <p:cNvCxnSpPr/>
          <p:nvPr/>
        </p:nvCxnSpPr>
        <p:spPr>
          <a:xfrm>
            <a:off x="6776762" y="2352902"/>
            <a:ext cx="1863995" cy="0"/>
          </a:xfrm>
          <a:prstGeom prst="line">
            <a:avLst/>
          </a:prstGeom>
          <a:ln w="25400">
            <a:solidFill>
              <a:schemeClr val="accent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68" name="Oval 67"/>
          <p:cNvSpPr/>
          <p:nvPr/>
        </p:nvSpPr>
        <p:spPr bwMode="auto">
          <a:xfrm>
            <a:off x="8784826" y="1732393"/>
            <a:ext cx="1229243" cy="1229243"/>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dirty="0">
              <a:solidFill>
                <a:srgbClr val="004BBB"/>
              </a:solidFill>
              <a:latin typeface="Segoe UI Light"/>
              <a:ea typeface="Segoe UI" pitchFamily="34" charset="0"/>
              <a:cs typeface="Segoe UI" pitchFamily="34" charset="0"/>
            </a:endParaRPr>
          </a:p>
        </p:txBody>
      </p:sp>
      <p:cxnSp>
        <p:nvCxnSpPr>
          <p:cNvPr id="70" name="Straight Connector 69"/>
          <p:cNvCxnSpPr/>
          <p:nvPr/>
        </p:nvCxnSpPr>
        <p:spPr>
          <a:xfrm>
            <a:off x="10005278" y="2352902"/>
            <a:ext cx="1863995" cy="0"/>
          </a:xfrm>
          <a:prstGeom prst="line">
            <a:avLst/>
          </a:prstGeom>
          <a:ln w="25400">
            <a:solidFill>
              <a:schemeClr val="accent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71" name="Freeform 9"/>
          <p:cNvSpPr>
            <a:spLocks noEditPoints="1"/>
          </p:cNvSpPr>
          <p:nvPr/>
        </p:nvSpPr>
        <p:spPr bwMode="auto">
          <a:xfrm>
            <a:off x="5951605" y="2131156"/>
            <a:ext cx="497932" cy="422376"/>
          </a:xfrm>
          <a:custGeom>
            <a:avLst/>
            <a:gdLst>
              <a:gd name="T0" fmla="*/ 464 w 928"/>
              <a:gd name="T1" fmla="*/ 590 h 786"/>
              <a:gd name="T2" fmla="*/ 530 w 928"/>
              <a:gd name="T3" fmla="*/ 524 h 786"/>
              <a:gd name="T4" fmla="*/ 530 w 928"/>
              <a:gd name="T5" fmla="*/ 344 h 786"/>
              <a:gd name="T6" fmla="*/ 646 w 928"/>
              <a:gd name="T7" fmla="*/ 229 h 786"/>
              <a:gd name="T8" fmla="*/ 762 w 928"/>
              <a:gd name="T9" fmla="*/ 344 h 786"/>
              <a:gd name="T10" fmla="*/ 762 w 928"/>
              <a:gd name="T11" fmla="*/ 540 h 786"/>
              <a:gd name="T12" fmla="*/ 795 w 928"/>
              <a:gd name="T13" fmla="*/ 590 h 786"/>
              <a:gd name="T14" fmla="*/ 729 w 928"/>
              <a:gd name="T15" fmla="*/ 655 h 786"/>
              <a:gd name="T16" fmla="*/ 663 w 928"/>
              <a:gd name="T17" fmla="*/ 590 h 786"/>
              <a:gd name="T18" fmla="*/ 696 w 928"/>
              <a:gd name="T19" fmla="*/ 540 h 786"/>
              <a:gd name="T20" fmla="*/ 696 w 928"/>
              <a:gd name="T21" fmla="*/ 344 h 786"/>
              <a:gd name="T22" fmla="*/ 646 w 928"/>
              <a:gd name="T23" fmla="*/ 295 h 786"/>
              <a:gd name="T24" fmla="*/ 596 w 928"/>
              <a:gd name="T25" fmla="*/ 344 h 786"/>
              <a:gd name="T26" fmla="*/ 596 w 928"/>
              <a:gd name="T27" fmla="*/ 524 h 786"/>
              <a:gd name="T28" fmla="*/ 464 w 928"/>
              <a:gd name="T29" fmla="*/ 655 h 786"/>
              <a:gd name="T30" fmla="*/ 332 w 928"/>
              <a:gd name="T31" fmla="*/ 524 h 786"/>
              <a:gd name="T32" fmla="*/ 332 w 928"/>
              <a:gd name="T33" fmla="*/ 393 h 786"/>
              <a:gd name="T34" fmla="*/ 398 w 928"/>
              <a:gd name="T35" fmla="*/ 393 h 786"/>
              <a:gd name="T36" fmla="*/ 398 w 928"/>
              <a:gd name="T37" fmla="*/ 524 h 786"/>
              <a:gd name="T38" fmla="*/ 464 w 928"/>
              <a:gd name="T39" fmla="*/ 590 h 786"/>
              <a:gd name="T40" fmla="*/ 282 w 928"/>
              <a:gd name="T41" fmla="*/ 319 h 786"/>
              <a:gd name="T42" fmla="*/ 315 w 928"/>
              <a:gd name="T43" fmla="*/ 278 h 786"/>
              <a:gd name="T44" fmla="*/ 282 w 928"/>
              <a:gd name="T45" fmla="*/ 245 h 786"/>
              <a:gd name="T46" fmla="*/ 323 w 928"/>
              <a:gd name="T47" fmla="*/ 204 h 786"/>
              <a:gd name="T48" fmla="*/ 365 w 928"/>
              <a:gd name="T49" fmla="*/ 237 h 786"/>
              <a:gd name="T50" fmla="*/ 398 w 928"/>
              <a:gd name="T51" fmla="*/ 204 h 786"/>
              <a:gd name="T52" fmla="*/ 439 w 928"/>
              <a:gd name="T53" fmla="*/ 245 h 786"/>
              <a:gd name="T54" fmla="*/ 406 w 928"/>
              <a:gd name="T55" fmla="*/ 278 h 786"/>
              <a:gd name="T56" fmla="*/ 439 w 928"/>
              <a:gd name="T57" fmla="*/ 319 h 786"/>
              <a:gd name="T58" fmla="*/ 398 w 928"/>
              <a:gd name="T59" fmla="*/ 360 h 786"/>
              <a:gd name="T60" fmla="*/ 365 w 928"/>
              <a:gd name="T61" fmla="*/ 327 h 786"/>
              <a:gd name="T62" fmla="*/ 323 w 928"/>
              <a:gd name="T63" fmla="*/ 360 h 786"/>
              <a:gd name="T64" fmla="*/ 282 w 928"/>
              <a:gd name="T65" fmla="*/ 319 h 786"/>
              <a:gd name="T66" fmla="*/ 166 w 928"/>
              <a:gd name="T67" fmla="*/ 524 h 786"/>
              <a:gd name="T68" fmla="*/ 199 w 928"/>
              <a:gd name="T69" fmla="*/ 524 h 786"/>
              <a:gd name="T70" fmla="*/ 199 w 928"/>
              <a:gd name="T71" fmla="*/ 131 h 786"/>
              <a:gd name="T72" fmla="*/ 861 w 928"/>
              <a:gd name="T73" fmla="*/ 131 h 786"/>
              <a:gd name="T74" fmla="*/ 861 w 928"/>
              <a:gd name="T75" fmla="*/ 721 h 786"/>
              <a:gd name="T76" fmla="*/ 166 w 928"/>
              <a:gd name="T77" fmla="*/ 721 h 786"/>
              <a:gd name="T78" fmla="*/ 67 w 928"/>
              <a:gd name="T79" fmla="*/ 622 h 786"/>
              <a:gd name="T80" fmla="*/ 166 w 928"/>
              <a:gd name="T81" fmla="*/ 524 h 786"/>
              <a:gd name="T82" fmla="*/ 67 w 928"/>
              <a:gd name="T83" fmla="*/ 163 h 786"/>
              <a:gd name="T84" fmla="*/ 133 w 928"/>
              <a:gd name="T85" fmla="*/ 73 h 786"/>
              <a:gd name="T86" fmla="*/ 133 w 928"/>
              <a:gd name="T87" fmla="*/ 467 h 786"/>
              <a:gd name="T88" fmla="*/ 67 w 928"/>
              <a:gd name="T89" fmla="*/ 491 h 786"/>
              <a:gd name="T90" fmla="*/ 67 w 928"/>
              <a:gd name="T91" fmla="*/ 163 h 786"/>
              <a:gd name="T92" fmla="*/ 166 w 928"/>
              <a:gd name="T93" fmla="*/ 786 h 786"/>
              <a:gd name="T94" fmla="*/ 928 w 928"/>
              <a:gd name="T95" fmla="*/ 786 h 786"/>
              <a:gd name="T96" fmla="*/ 928 w 928"/>
              <a:gd name="T97" fmla="*/ 65 h 786"/>
              <a:gd name="T98" fmla="*/ 199 w 928"/>
              <a:gd name="T99" fmla="*/ 65 h 786"/>
              <a:gd name="T100" fmla="*/ 199 w 928"/>
              <a:gd name="T101" fmla="*/ 0 h 786"/>
              <a:gd name="T102" fmla="*/ 166 w 928"/>
              <a:gd name="T103" fmla="*/ 0 h 786"/>
              <a:gd name="T104" fmla="*/ 0 w 928"/>
              <a:gd name="T105" fmla="*/ 163 h 786"/>
              <a:gd name="T106" fmla="*/ 0 w 928"/>
              <a:gd name="T107" fmla="*/ 622 h 786"/>
              <a:gd name="T108" fmla="*/ 166 w 928"/>
              <a:gd name="T109"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8" h="786">
                <a:moveTo>
                  <a:pt x="464" y="590"/>
                </a:moveTo>
                <a:cubicBezTo>
                  <a:pt x="497" y="590"/>
                  <a:pt x="530" y="565"/>
                  <a:pt x="530" y="524"/>
                </a:cubicBezTo>
                <a:cubicBezTo>
                  <a:pt x="530" y="344"/>
                  <a:pt x="530" y="344"/>
                  <a:pt x="530" y="344"/>
                </a:cubicBezTo>
                <a:cubicBezTo>
                  <a:pt x="530" y="286"/>
                  <a:pt x="580" y="229"/>
                  <a:pt x="646" y="229"/>
                </a:cubicBezTo>
                <a:cubicBezTo>
                  <a:pt x="704" y="229"/>
                  <a:pt x="762" y="286"/>
                  <a:pt x="762" y="344"/>
                </a:cubicBezTo>
                <a:cubicBezTo>
                  <a:pt x="762" y="540"/>
                  <a:pt x="762" y="540"/>
                  <a:pt x="762" y="540"/>
                </a:cubicBezTo>
                <a:cubicBezTo>
                  <a:pt x="779" y="549"/>
                  <a:pt x="795" y="565"/>
                  <a:pt x="795" y="590"/>
                </a:cubicBezTo>
                <a:cubicBezTo>
                  <a:pt x="795" y="631"/>
                  <a:pt x="762" y="655"/>
                  <a:pt x="729" y="655"/>
                </a:cubicBezTo>
                <a:cubicBezTo>
                  <a:pt x="687" y="655"/>
                  <a:pt x="663" y="631"/>
                  <a:pt x="663" y="590"/>
                </a:cubicBezTo>
                <a:cubicBezTo>
                  <a:pt x="663" y="565"/>
                  <a:pt x="671" y="549"/>
                  <a:pt x="696" y="540"/>
                </a:cubicBezTo>
                <a:cubicBezTo>
                  <a:pt x="696" y="344"/>
                  <a:pt x="696" y="344"/>
                  <a:pt x="696" y="344"/>
                </a:cubicBezTo>
                <a:cubicBezTo>
                  <a:pt x="696" y="319"/>
                  <a:pt x="671" y="295"/>
                  <a:pt x="646" y="295"/>
                </a:cubicBezTo>
                <a:cubicBezTo>
                  <a:pt x="613" y="295"/>
                  <a:pt x="596" y="319"/>
                  <a:pt x="596" y="344"/>
                </a:cubicBezTo>
                <a:cubicBezTo>
                  <a:pt x="596" y="524"/>
                  <a:pt x="596" y="524"/>
                  <a:pt x="596" y="524"/>
                </a:cubicBezTo>
                <a:cubicBezTo>
                  <a:pt x="596" y="598"/>
                  <a:pt x="530" y="655"/>
                  <a:pt x="464" y="655"/>
                </a:cubicBezTo>
                <a:cubicBezTo>
                  <a:pt x="389" y="655"/>
                  <a:pt x="332" y="598"/>
                  <a:pt x="332" y="524"/>
                </a:cubicBezTo>
                <a:cubicBezTo>
                  <a:pt x="332" y="393"/>
                  <a:pt x="332" y="393"/>
                  <a:pt x="332" y="393"/>
                </a:cubicBezTo>
                <a:cubicBezTo>
                  <a:pt x="398" y="393"/>
                  <a:pt x="398" y="393"/>
                  <a:pt x="398" y="393"/>
                </a:cubicBezTo>
                <a:cubicBezTo>
                  <a:pt x="398" y="524"/>
                  <a:pt x="398" y="524"/>
                  <a:pt x="398" y="524"/>
                </a:cubicBezTo>
                <a:cubicBezTo>
                  <a:pt x="398" y="565"/>
                  <a:pt x="423" y="590"/>
                  <a:pt x="464" y="590"/>
                </a:cubicBezTo>
                <a:close/>
                <a:moveTo>
                  <a:pt x="282" y="319"/>
                </a:moveTo>
                <a:cubicBezTo>
                  <a:pt x="315" y="278"/>
                  <a:pt x="315" y="278"/>
                  <a:pt x="315" y="278"/>
                </a:cubicBezTo>
                <a:cubicBezTo>
                  <a:pt x="282" y="245"/>
                  <a:pt x="282" y="245"/>
                  <a:pt x="282" y="245"/>
                </a:cubicBezTo>
                <a:cubicBezTo>
                  <a:pt x="323" y="204"/>
                  <a:pt x="323" y="204"/>
                  <a:pt x="323" y="204"/>
                </a:cubicBezTo>
                <a:cubicBezTo>
                  <a:pt x="365" y="237"/>
                  <a:pt x="365" y="237"/>
                  <a:pt x="365" y="237"/>
                </a:cubicBezTo>
                <a:cubicBezTo>
                  <a:pt x="398" y="204"/>
                  <a:pt x="398" y="204"/>
                  <a:pt x="398" y="204"/>
                </a:cubicBezTo>
                <a:cubicBezTo>
                  <a:pt x="439" y="245"/>
                  <a:pt x="439" y="245"/>
                  <a:pt x="439" y="245"/>
                </a:cubicBezTo>
                <a:cubicBezTo>
                  <a:pt x="406" y="278"/>
                  <a:pt x="406" y="278"/>
                  <a:pt x="406" y="278"/>
                </a:cubicBezTo>
                <a:cubicBezTo>
                  <a:pt x="439" y="319"/>
                  <a:pt x="439" y="319"/>
                  <a:pt x="439" y="319"/>
                </a:cubicBezTo>
                <a:cubicBezTo>
                  <a:pt x="398" y="360"/>
                  <a:pt x="398" y="360"/>
                  <a:pt x="398" y="360"/>
                </a:cubicBezTo>
                <a:cubicBezTo>
                  <a:pt x="365" y="327"/>
                  <a:pt x="365" y="327"/>
                  <a:pt x="365" y="327"/>
                </a:cubicBezTo>
                <a:cubicBezTo>
                  <a:pt x="323" y="360"/>
                  <a:pt x="323" y="360"/>
                  <a:pt x="323" y="360"/>
                </a:cubicBezTo>
                <a:lnTo>
                  <a:pt x="282" y="319"/>
                </a:lnTo>
                <a:close/>
                <a:moveTo>
                  <a:pt x="166" y="524"/>
                </a:moveTo>
                <a:cubicBezTo>
                  <a:pt x="199" y="524"/>
                  <a:pt x="199" y="524"/>
                  <a:pt x="199" y="524"/>
                </a:cubicBezTo>
                <a:cubicBezTo>
                  <a:pt x="199" y="131"/>
                  <a:pt x="199" y="131"/>
                  <a:pt x="199" y="131"/>
                </a:cubicBezTo>
                <a:cubicBezTo>
                  <a:pt x="861" y="131"/>
                  <a:pt x="861" y="131"/>
                  <a:pt x="861" y="131"/>
                </a:cubicBezTo>
                <a:cubicBezTo>
                  <a:pt x="861" y="721"/>
                  <a:pt x="861" y="721"/>
                  <a:pt x="861" y="721"/>
                </a:cubicBezTo>
                <a:cubicBezTo>
                  <a:pt x="166" y="721"/>
                  <a:pt x="166" y="721"/>
                  <a:pt x="166" y="721"/>
                </a:cubicBezTo>
                <a:cubicBezTo>
                  <a:pt x="108" y="721"/>
                  <a:pt x="67" y="680"/>
                  <a:pt x="67" y="622"/>
                </a:cubicBezTo>
                <a:cubicBezTo>
                  <a:pt x="67" y="573"/>
                  <a:pt x="108" y="524"/>
                  <a:pt x="166" y="524"/>
                </a:cubicBezTo>
                <a:close/>
                <a:moveTo>
                  <a:pt x="67" y="163"/>
                </a:moveTo>
                <a:cubicBezTo>
                  <a:pt x="67" y="123"/>
                  <a:pt x="91" y="90"/>
                  <a:pt x="133" y="73"/>
                </a:cubicBezTo>
                <a:cubicBezTo>
                  <a:pt x="133" y="467"/>
                  <a:pt x="133" y="467"/>
                  <a:pt x="133" y="467"/>
                </a:cubicBezTo>
                <a:cubicBezTo>
                  <a:pt x="108" y="467"/>
                  <a:pt x="83" y="483"/>
                  <a:pt x="67" y="491"/>
                </a:cubicBezTo>
                <a:lnTo>
                  <a:pt x="67" y="163"/>
                </a:lnTo>
                <a:close/>
                <a:moveTo>
                  <a:pt x="166" y="786"/>
                </a:moveTo>
                <a:cubicBezTo>
                  <a:pt x="928" y="786"/>
                  <a:pt x="928" y="786"/>
                  <a:pt x="928" y="786"/>
                </a:cubicBezTo>
                <a:cubicBezTo>
                  <a:pt x="928" y="65"/>
                  <a:pt x="928" y="65"/>
                  <a:pt x="928" y="65"/>
                </a:cubicBezTo>
                <a:cubicBezTo>
                  <a:pt x="199" y="65"/>
                  <a:pt x="199" y="65"/>
                  <a:pt x="199" y="65"/>
                </a:cubicBezTo>
                <a:cubicBezTo>
                  <a:pt x="199" y="0"/>
                  <a:pt x="199" y="0"/>
                  <a:pt x="199" y="0"/>
                </a:cubicBezTo>
                <a:cubicBezTo>
                  <a:pt x="166" y="0"/>
                  <a:pt x="166" y="0"/>
                  <a:pt x="166" y="0"/>
                </a:cubicBezTo>
                <a:cubicBezTo>
                  <a:pt x="75" y="0"/>
                  <a:pt x="0" y="73"/>
                  <a:pt x="0" y="163"/>
                </a:cubicBezTo>
                <a:cubicBezTo>
                  <a:pt x="0" y="622"/>
                  <a:pt x="0" y="622"/>
                  <a:pt x="0" y="622"/>
                </a:cubicBezTo>
                <a:cubicBezTo>
                  <a:pt x="0" y="713"/>
                  <a:pt x="75" y="786"/>
                  <a:pt x="166" y="786"/>
                </a:cubicBezTo>
                <a:close/>
              </a:path>
            </a:pathLst>
          </a:custGeom>
          <a:solidFill>
            <a:srgbClr val="31112A"/>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004BBB"/>
              </a:solidFill>
              <a:latin typeface="Segoe UI Semilight"/>
            </a:endParaRPr>
          </a:p>
        </p:txBody>
      </p:sp>
      <p:grpSp>
        <p:nvGrpSpPr>
          <p:cNvPr id="78" name="Group 77"/>
          <p:cNvGrpSpPr/>
          <p:nvPr/>
        </p:nvGrpSpPr>
        <p:grpSpPr>
          <a:xfrm>
            <a:off x="9107206" y="2122819"/>
            <a:ext cx="607621" cy="519998"/>
            <a:chOff x="7348538" y="1900238"/>
            <a:chExt cx="1177925" cy="1008062"/>
          </a:xfrm>
          <a:solidFill>
            <a:srgbClr val="31112A"/>
          </a:solidFill>
        </p:grpSpPr>
        <p:sp>
          <p:nvSpPr>
            <p:cNvPr id="73" name="Freeform 23"/>
            <p:cNvSpPr>
              <a:spLocks noEditPoints="1"/>
            </p:cNvSpPr>
            <p:nvPr/>
          </p:nvSpPr>
          <p:spPr bwMode="auto">
            <a:xfrm>
              <a:off x="7707313" y="2057400"/>
              <a:ext cx="441325" cy="508000"/>
            </a:xfrm>
            <a:custGeom>
              <a:avLst/>
              <a:gdLst>
                <a:gd name="T0" fmla="*/ 67 w 135"/>
                <a:gd name="T1" fmla="*/ 0 h 155"/>
                <a:gd name="T2" fmla="*/ 67 w 135"/>
                <a:gd name="T3" fmla="*/ 0 h 155"/>
                <a:gd name="T4" fmla="*/ 5 w 135"/>
                <a:gd name="T5" fmla="*/ 18 h 155"/>
                <a:gd name="T6" fmla="*/ 0 w 135"/>
                <a:gd name="T7" fmla="*/ 21 h 155"/>
                <a:gd name="T8" fmla="*/ 0 w 135"/>
                <a:gd name="T9" fmla="*/ 77 h 155"/>
                <a:gd name="T10" fmla="*/ 67 w 135"/>
                <a:gd name="T11" fmla="*/ 155 h 155"/>
                <a:gd name="T12" fmla="*/ 135 w 135"/>
                <a:gd name="T13" fmla="*/ 77 h 155"/>
                <a:gd name="T14" fmla="*/ 135 w 135"/>
                <a:gd name="T15" fmla="*/ 21 h 155"/>
                <a:gd name="T16" fmla="*/ 130 w 135"/>
                <a:gd name="T17" fmla="*/ 18 h 155"/>
                <a:gd name="T18" fmla="*/ 67 w 135"/>
                <a:gd name="T19" fmla="*/ 0 h 155"/>
                <a:gd name="T20" fmla="*/ 67 w 135"/>
                <a:gd name="T21" fmla="*/ 137 h 155"/>
                <a:gd name="T22" fmla="*/ 18 w 135"/>
                <a:gd name="T23" fmla="*/ 77 h 155"/>
                <a:gd name="T24" fmla="*/ 18 w 135"/>
                <a:gd name="T25" fmla="*/ 55 h 155"/>
                <a:gd name="T26" fmla="*/ 116 w 135"/>
                <a:gd name="T27" fmla="*/ 55 h 155"/>
                <a:gd name="T28" fmla="*/ 116 w 135"/>
                <a:gd name="T29" fmla="*/ 77 h 155"/>
                <a:gd name="T30" fmla="*/ 67 w 135"/>
                <a:gd name="T31" fmla="*/ 137 h 155"/>
                <a:gd name="T32" fmla="*/ 116 w 135"/>
                <a:gd name="T33" fmla="*/ 32 h 155"/>
                <a:gd name="T34" fmla="*/ 116 w 135"/>
                <a:gd name="T35" fmla="*/ 36 h 155"/>
                <a:gd name="T36" fmla="*/ 18 w 135"/>
                <a:gd name="T37" fmla="*/ 36 h 155"/>
                <a:gd name="T38" fmla="*/ 18 w 135"/>
                <a:gd name="T39" fmla="*/ 32 h 155"/>
                <a:gd name="T40" fmla="*/ 67 w 135"/>
                <a:gd name="T41" fmla="*/ 18 h 155"/>
                <a:gd name="T42" fmla="*/ 116 w 135"/>
                <a:gd name="T43" fmla="*/ 3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5" h="155">
                  <a:moveTo>
                    <a:pt x="67" y="0"/>
                  </a:moveTo>
                  <a:cubicBezTo>
                    <a:pt x="67" y="0"/>
                    <a:pt x="67" y="0"/>
                    <a:pt x="67" y="0"/>
                  </a:cubicBezTo>
                  <a:cubicBezTo>
                    <a:pt x="36" y="0"/>
                    <a:pt x="6" y="17"/>
                    <a:pt x="5" y="18"/>
                  </a:cubicBezTo>
                  <a:cubicBezTo>
                    <a:pt x="0" y="21"/>
                    <a:pt x="0" y="21"/>
                    <a:pt x="0" y="21"/>
                  </a:cubicBezTo>
                  <a:cubicBezTo>
                    <a:pt x="0" y="77"/>
                    <a:pt x="0" y="77"/>
                    <a:pt x="0" y="77"/>
                  </a:cubicBezTo>
                  <a:cubicBezTo>
                    <a:pt x="0" y="113"/>
                    <a:pt x="48" y="155"/>
                    <a:pt x="67" y="155"/>
                  </a:cubicBezTo>
                  <a:cubicBezTo>
                    <a:pt x="87" y="155"/>
                    <a:pt x="135" y="113"/>
                    <a:pt x="135" y="77"/>
                  </a:cubicBezTo>
                  <a:cubicBezTo>
                    <a:pt x="135" y="21"/>
                    <a:pt x="135" y="21"/>
                    <a:pt x="135" y="21"/>
                  </a:cubicBezTo>
                  <a:cubicBezTo>
                    <a:pt x="130" y="18"/>
                    <a:pt x="130" y="18"/>
                    <a:pt x="130" y="18"/>
                  </a:cubicBezTo>
                  <a:cubicBezTo>
                    <a:pt x="129" y="17"/>
                    <a:pt x="98" y="0"/>
                    <a:pt x="67" y="0"/>
                  </a:cubicBezTo>
                  <a:close/>
                  <a:moveTo>
                    <a:pt x="67" y="137"/>
                  </a:moveTo>
                  <a:cubicBezTo>
                    <a:pt x="59" y="137"/>
                    <a:pt x="18" y="104"/>
                    <a:pt x="18" y="77"/>
                  </a:cubicBezTo>
                  <a:cubicBezTo>
                    <a:pt x="18" y="55"/>
                    <a:pt x="18" y="55"/>
                    <a:pt x="18" y="55"/>
                  </a:cubicBezTo>
                  <a:cubicBezTo>
                    <a:pt x="116" y="55"/>
                    <a:pt x="116" y="55"/>
                    <a:pt x="116" y="55"/>
                  </a:cubicBezTo>
                  <a:cubicBezTo>
                    <a:pt x="116" y="77"/>
                    <a:pt x="116" y="77"/>
                    <a:pt x="116" y="77"/>
                  </a:cubicBezTo>
                  <a:cubicBezTo>
                    <a:pt x="116" y="104"/>
                    <a:pt x="76" y="137"/>
                    <a:pt x="67" y="137"/>
                  </a:cubicBezTo>
                  <a:close/>
                  <a:moveTo>
                    <a:pt x="116" y="32"/>
                  </a:moveTo>
                  <a:cubicBezTo>
                    <a:pt x="116" y="36"/>
                    <a:pt x="116" y="36"/>
                    <a:pt x="116" y="36"/>
                  </a:cubicBezTo>
                  <a:cubicBezTo>
                    <a:pt x="18" y="36"/>
                    <a:pt x="18" y="36"/>
                    <a:pt x="18" y="36"/>
                  </a:cubicBezTo>
                  <a:cubicBezTo>
                    <a:pt x="18" y="32"/>
                    <a:pt x="18" y="32"/>
                    <a:pt x="18" y="32"/>
                  </a:cubicBezTo>
                  <a:cubicBezTo>
                    <a:pt x="27" y="27"/>
                    <a:pt x="48" y="18"/>
                    <a:pt x="67" y="18"/>
                  </a:cubicBezTo>
                  <a:cubicBezTo>
                    <a:pt x="87" y="18"/>
                    <a:pt x="107" y="27"/>
                    <a:pt x="11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004BBB"/>
                </a:solidFill>
                <a:latin typeface="Segoe UI Semilight"/>
              </a:endParaRPr>
            </a:p>
          </p:txBody>
        </p:sp>
        <p:sp>
          <p:nvSpPr>
            <p:cNvPr id="74" name="Freeform 24"/>
            <p:cNvSpPr>
              <a:spLocks noEditPoints="1"/>
            </p:cNvSpPr>
            <p:nvPr/>
          </p:nvSpPr>
          <p:spPr bwMode="auto">
            <a:xfrm>
              <a:off x="7348538" y="1900238"/>
              <a:ext cx="1177925" cy="1008062"/>
            </a:xfrm>
            <a:custGeom>
              <a:avLst/>
              <a:gdLst>
                <a:gd name="T0" fmla="*/ 0 w 742"/>
                <a:gd name="T1" fmla="*/ 0 h 635"/>
                <a:gd name="T2" fmla="*/ 0 w 742"/>
                <a:gd name="T3" fmla="*/ 507 h 635"/>
                <a:gd name="T4" fmla="*/ 58 w 742"/>
                <a:gd name="T5" fmla="*/ 507 h 635"/>
                <a:gd name="T6" fmla="*/ 58 w 742"/>
                <a:gd name="T7" fmla="*/ 635 h 635"/>
                <a:gd name="T8" fmla="*/ 185 w 742"/>
                <a:gd name="T9" fmla="*/ 507 h 635"/>
                <a:gd name="T10" fmla="*/ 742 w 742"/>
                <a:gd name="T11" fmla="*/ 507 h 635"/>
                <a:gd name="T12" fmla="*/ 742 w 742"/>
                <a:gd name="T13" fmla="*/ 0 h 635"/>
                <a:gd name="T14" fmla="*/ 0 w 742"/>
                <a:gd name="T15" fmla="*/ 0 h 635"/>
                <a:gd name="T16" fmla="*/ 158 w 742"/>
                <a:gd name="T17" fmla="*/ 474 h 635"/>
                <a:gd name="T18" fmla="*/ 97 w 742"/>
                <a:gd name="T19" fmla="*/ 538 h 635"/>
                <a:gd name="T20" fmla="*/ 97 w 742"/>
                <a:gd name="T21" fmla="*/ 468 h 635"/>
                <a:gd name="T22" fmla="*/ 37 w 742"/>
                <a:gd name="T23" fmla="*/ 468 h 635"/>
                <a:gd name="T24" fmla="*/ 37 w 742"/>
                <a:gd name="T25" fmla="*/ 39 h 635"/>
                <a:gd name="T26" fmla="*/ 703 w 742"/>
                <a:gd name="T27" fmla="*/ 39 h 635"/>
                <a:gd name="T28" fmla="*/ 703 w 742"/>
                <a:gd name="T29" fmla="*/ 468 h 635"/>
                <a:gd name="T30" fmla="*/ 169 w 742"/>
                <a:gd name="T31" fmla="*/ 468 h 635"/>
                <a:gd name="T32" fmla="*/ 158 w 742"/>
                <a:gd name="T33" fmla="*/ 47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2" h="635">
                  <a:moveTo>
                    <a:pt x="0" y="0"/>
                  </a:moveTo>
                  <a:lnTo>
                    <a:pt x="0" y="507"/>
                  </a:lnTo>
                  <a:lnTo>
                    <a:pt x="58" y="507"/>
                  </a:lnTo>
                  <a:lnTo>
                    <a:pt x="58" y="635"/>
                  </a:lnTo>
                  <a:lnTo>
                    <a:pt x="185" y="507"/>
                  </a:lnTo>
                  <a:lnTo>
                    <a:pt x="742" y="507"/>
                  </a:lnTo>
                  <a:lnTo>
                    <a:pt x="742" y="0"/>
                  </a:lnTo>
                  <a:lnTo>
                    <a:pt x="0" y="0"/>
                  </a:lnTo>
                  <a:close/>
                  <a:moveTo>
                    <a:pt x="158" y="474"/>
                  </a:moveTo>
                  <a:lnTo>
                    <a:pt x="97" y="538"/>
                  </a:lnTo>
                  <a:lnTo>
                    <a:pt x="97" y="468"/>
                  </a:lnTo>
                  <a:lnTo>
                    <a:pt x="37" y="468"/>
                  </a:lnTo>
                  <a:lnTo>
                    <a:pt x="37" y="39"/>
                  </a:lnTo>
                  <a:lnTo>
                    <a:pt x="703" y="39"/>
                  </a:lnTo>
                  <a:lnTo>
                    <a:pt x="703" y="468"/>
                  </a:lnTo>
                  <a:lnTo>
                    <a:pt x="169" y="468"/>
                  </a:lnTo>
                  <a:lnTo>
                    <a:pt x="158" y="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004BBB"/>
                </a:solidFill>
                <a:latin typeface="Segoe UI Semilight"/>
              </a:endParaRPr>
            </a:p>
          </p:txBody>
        </p:sp>
      </p:grpSp>
      <p:sp>
        <p:nvSpPr>
          <p:cNvPr id="92" name="Rectangle 91"/>
          <p:cNvSpPr/>
          <p:nvPr/>
        </p:nvSpPr>
        <p:spPr bwMode="auto">
          <a:xfrm>
            <a:off x="1623766" y="2918301"/>
            <a:ext cx="2644583" cy="583499"/>
          </a:xfrm>
          <a:prstGeom prst="rect">
            <a:avLst/>
          </a:prstGeom>
          <a:noFill/>
          <a:ln w="25400" cap="sq" cmpd="sng" algn="ctr">
            <a:noFill/>
            <a:prstDash val="solid"/>
            <a:miter lim="800000"/>
            <a:headEnd type="none" w="med" len="med"/>
            <a:tailEnd type="none" w="med" len="med"/>
          </a:ln>
          <a:effectLst/>
        </p:spPr>
        <p:txBody>
          <a:bodyPr lIns="179234" tIns="143387" rIns="179234" bIns="143387"/>
          <a:lstStyle/>
          <a:p>
            <a:pPr marL="0" lvl="1" algn="ctr" defTabSz="913874">
              <a:lnSpc>
                <a:spcPct val="90000"/>
              </a:lnSpc>
              <a:spcBef>
                <a:spcPts val="588"/>
              </a:spcBef>
              <a:spcAft>
                <a:spcPts val="588"/>
              </a:spcAft>
              <a:buSzPct val="90000"/>
              <a:defRPr/>
            </a:pPr>
            <a:r>
              <a:rPr lang="en-US" sz="2157" b="1" kern="0" dirty="0">
                <a:solidFill>
                  <a:srgbClr val="004BBB"/>
                </a:solidFill>
                <a:latin typeface="Segoe UI Semibold" panose="020B0702040204020203" pitchFamily="34" charset="0"/>
                <a:cs typeface="Segoe UI Semibold" panose="020B0702040204020203" pitchFamily="34" charset="0"/>
              </a:rPr>
              <a:t>Target and attack</a:t>
            </a:r>
          </a:p>
        </p:txBody>
      </p:sp>
      <p:sp>
        <p:nvSpPr>
          <p:cNvPr id="93" name="Rectangle 92"/>
          <p:cNvSpPr/>
          <p:nvPr/>
        </p:nvSpPr>
        <p:spPr bwMode="auto">
          <a:xfrm>
            <a:off x="1570392" y="4005347"/>
            <a:ext cx="2780474" cy="2026578"/>
          </a:xfrm>
          <a:prstGeom prst="rect">
            <a:avLst/>
          </a:prstGeom>
          <a:noFill/>
          <a:ln w="9525" cap="flat" cmpd="sng" algn="ctr">
            <a:noFill/>
            <a:prstDash val="solid"/>
            <a:headEnd type="none" w="med" len="med"/>
            <a:tailEnd type="none" w="med" len="med"/>
          </a:ln>
          <a:effectLst/>
        </p:spPr>
        <p:txBody>
          <a:bodyPr lIns="179234" tIns="143387" rIns="179234" bIns="143387"/>
          <a:lstStyle/>
          <a:p>
            <a:pPr marL="0" lvl="2" algn="ctr" defTabSz="914367">
              <a:spcBef>
                <a:spcPct val="20000"/>
              </a:spcBef>
              <a:spcAft>
                <a:spcPts val="588"/>
              </a:spcAft>
              <a:buSzPct val="90000"/>
              <a:defRPr/>
            </a:pPr>
            <a:r>
              <a:rPr lang="en-US" sz="1470" dirty="0">
                <a:gradFill>
                  <a:gsLst>
                    <a:gs pos="0">
                      <a:srgbClr val="FFFFFF"/>
                    </a:gs>
                    <a:gs pos="100000">
                      <a:srgbClr val="FFFFFF"/>
                    </a:gs>
                  </a:gsLst>
                  <a:lin ang="5400000" scaled="0"/>
                </a:gradFill>
                <a:latin typeface="Segoe UI Semilight"/>
                <a:cs typeface="Segoe UI" panose="020B0502040204020203" pitchFamily="34" charset="0"/>
              </a:rPr>
              <a:t>Inbound brute-force RDP, SSH, </a:t>
            </a:r>
            <a:br>
              <a:rPr lang="en-US" sz="1470" dirty="0">
                <a:gradFill>
                  <a:gsLst>
                    <a:gs pos="0">
                      <a:srgbClr val="FFFFFF"/>
                    </a:gs>
                    <a:gs pos="100000">
                      <a:srgbClr val="FFFFFF"/>
                    </a:gs>
                  </a:gsLst>
                  <a:lin ang="5400000" scaled="0"/>
                </a:gradFill>
                <a:latin typeface="Segoe UI Semilight"/>
                <a:cs typeface="Segoe UI" panose="020B0502040204020203" pitchFamily="34" charset="0"/>
              </a:rPr>
            </a:br>
            <a:r>
              <a:rPr lang="en-US" sz="1470" dirty="0">
                <a:gradFill>
                  <a:gsLst>
                    <a:gs pos="0">
                      <a:srgbClr val="FFFFFF"/>
                    </a:gs>
                    <a:gs pos="100000">
                      <a:srgbClr val="FFFFFF"/>
                    </a:gs>
                  </a:gsLst>
                  <a:lin ang="5400000" scaled="0"/>
                </a:gradFill>
                <a:latin typeface="Segoe UI Semilight"/>
                <a:cs typeface="Segoe UI" panose="020B0502040204020203" pitchFamily="34" charset="0"/>
              </a:rPr>
              <a:t>SQL attacks and more</a:t>
            </a:r>
          </a:p>
          <a:p>
            <a:pPr marL="0" lvl="2" algn="ctr" defTabSz="914367">
              <a:spcBef>
                <a:spcPct val="20000"/>
              </a:spcBef>
              <a:spcAft>
                <a:spcPts val="588"/>
              </a:spcAft>
              <a:buSzPct val="90000"/>
              <a:defRPr/>
            </a:pPr>
            <a:r>
              <a:rPr lang="en-US" sz="1470" dirty="0">
                <a:gradFill>
                  <a:gsLst>
                    <a:gs pos="0">
                      <a:srgbClr val="FFFFFF"/>
                    </a:gs>
                    <a:gs pos="100000">
                      <a:srgbClr val="FFFFFF"/>
                    </a:gs>
                  </a:gsLst>
                  <a:lin ang="5400000" scaled="0"/>
                </a:gradFill>
                <a:latin typeface="Segoe UI Semilight"/>
                <a:cs typeface="Segoe UI" panose="020B0502040204020203" pitchFamily="34" charset="0"/>
              </a:rPr>
              <a:t>Application and DDoS attacks </a:t>
            </a:r>
            <a:br>
              <a:rPr lang="en-US" sz="1470" dirty="0">
                <a:gradFill>
                  <a:gsLst>
                    <a:gs pos="0">
                      <a:srgbClr val="FFFFFF"/>
                    </a:gs>
                    <a:gs pos="100000">
                      <a:srgbClr val="FFFFFF"/>
                    </a:gs>
                  </a:gsLst>
                  <a:lin ang="5400000" scaled="0"/>
                </a:gradFill>
                <a:latin typeface="Segoe UI Semilight"/>
                <a:cs typeface="Segoe UI" panose="020B0502040204020203" pitchFamily="34" charset="0"/>
              </a:rPr>
            </a:br>
            <a:r>
              <a:rPr lang="en-US" sz="1470" dirty="0">
                <a:gradFill>
                  <a:gsLst>
                    <a:gs pos="0">
                      <a:srgbClr val="FFFFFF"/>
                    </a:gs>
                    <a:gs pos="100000">
                      <a:srgbClr val="FFFFFF"/>
                    </a:gs>
                  </a:gsLst>
                  <a:lin ang="5400000" scaled="0"/>
                </a:gradFill>
                <a:latin typeface="Segoe UI Semilight"/>
                <a:cs typeface="Segoe UI" panose="020B0502040204020203" pitchFamily="34" charset="0"/>
              </a:rPr>
              <a:t>(WAF partners)</a:t>
            </a:r>
          </a:p>
          <a:p>
            <a:pPr marL="0" lvl="2" algn="ctr" defTabSz="914367">
              <a:spcBef>
                <a:spcPct val="20000"/>
              </a:spcBef>
              <a:spcAft>
                <a:spcPts val="588"/>
              </a:spcAft>
              <a:buSzPct val="90000"/>
              <a:defRPr/>
            </a:pPr>
            <a:r>
              <a:rPr lang="en-US" sz="1470" dirty="0">
                <a:gradFill>
                  <a:gsLst>
                    <a:gs pos="0">
                      <a:srgbClr val="FFFFFF"/>
                    </a:gs>
                    <a:gs pos="100000">
                      <a:srgbClr val="FFFFFF"/>
                    </a:gs>
                  </a:gsLst>
                  <a:lin ang="5400000" scaled="0"/>
                </a:gradFill>
                <a:latin typeface="Segoe UI Semilight"/>
                <a:cs typeface="Segoe UI" panose="020B0502040204020203" pitchFamily="34" charset="0"/>
              </a:rPr>
              <a:t>Intrusion detection </a:t>
            </a:r>
            <a:br>
              <a:rPr lang="en-US" sz="1470" dirty="0">
                <a:gradFill>
                  <a:gsLst>
                    <a:gs pos="0">
                      <a:srgbClr val="FFFFFF"/>
                    </a:gs>
                    <a:gs pos="100000">
                      <a:srgbClr val="FFFFFF"/>
                    </a:gs>
                  </a:gsLst>
                  <a:lin ang="5400000" scaled="0"/>
                </a:gradFill>
                <a:latin typeface="Segoe UI Semilight"/>
                <a:cs typeface="Segoe UI" panose="020B0502040204020203" pitchFamily="34" charset="0"/>
              </a:rPr>
            </a:br>
            <a:r>
              <a:rPr lang="en-US" sz="1470" dirty="0">
                <a:gradFill>
                  <a:gsLst>
                    <a:gs pos="0">
                      <a:srgbClr val="FFFFFF"/>
                    </a:gs>
                    <a:gs pos="100000">
                      <a:srgbClr val="FFFFFF"/>
                    </a:gs>
                  </a:gsLst>
                  <a:lin ang="5400000" scaled="0"/>
                </a:gradFill>
                <a:latin typeface="Segoe UI Semilight"/>
                <a:cs typeface="Segoe UI" panose="020B0502040204020203" pitchFamily="34" charset="0"/>
              </a:rPr>
              <a:t>(NG Firewall partners)</a:t>
            </a:r>
          </a:p>
        </p:txBody>
      </p:sp>
      <p:sp>
        <p:nvSpPr>
          <p:cNvPr id="103" name="Rectangle 102"/>
          <p:cNvSpPr/>
          <p:nvPr/>
        </p:nvSpPr>
        <p:spPr bwMode="auto">
          <a:xfrm>
            <a:off x="4855635" y="2911700"/>
            <a:ext cx="2644583" cy="583499"/>
          </a:xfrm>
          <a:prstGeom prst="rect">
            <a:avLst/>
          </a:prstGeom>
          <a:noFill/>
          <a:ln w="25400" cap="sq" cmpd="sng" algn="ctr">
            <a:noFill/>
            <a:prstDash val="solid"/>
            <a:miter lim="800000"/>
            <a:headEnd type="none" w="med" len="med"/>
            <a:tailEnd type="none" w="med" len="med"/>
          </a:ln>
          <a:effectLst/>
        </p:spPr>
        <p:txBody>
          <a:bodyPr lIns="179234" tIns="143387" rIns="179234" bIns="143387"/>
          <a:lstStyle/>
          <a:p>
            <a:pPr marL="0" lvl="1" algn="ctr" defTabSz="913874">
              <a:lnSpc>
                <a:spcPct val="90000"/>
              </a:lnSpc>
              <a:spcBef>
                <a:spcPts val="588"/>
              </a:spcBef>
              <a:spcAft>
                <a:spcPts val="588"/>
              </a:spcAft>
              <a:buSzPct val="90000"/>
              <a:defRPr/>
            </a:pPr>
            <a:r>
              <a:rPr lang="en-US" sz="2157" b="1" kern="0" dirty="0">
                <a:solidFill>
                  <a:srgbClr val="004BBB"/>
                </a:solidFill>
                <a:latin typeface="Segoe UI Semibold" panose="020B0702040204020203" pitchFamily="34" charset="0"/>
                <a:cs typeface="Segoe UI Semibold" panose="020B0702040204020203" pitchFamily="34" charset="0"/>
              </a:rPr>
              <a:t>Install and exploit</a:t>
            </a:r>
          </a:p>
        </p:txBody>
      </p:sp>
      <p:sp>
        <p:nvSpPr>
          <p:cNvPr id="104" name="Rectangle 103"/>
          <p:cNvSpPr/>
          <p:nvPr/>
        </p:nvSpPr>
        <p:spPr bwMode="auto">
          <a:xfrm>
            <a:off x="4782687" y="4005347"/>
            <a:ext cx="2780474" cy="2026578"/>
          </a:xfrm>
          <a:prstGeom prst="rect">
            <a:avLst/>
          </a:prstGeom>
          <a:noFill/>
          <a:ln w="9525" cap="flat" cmpd="sng" algn="ctr">
            <a:noFill/>
            <a:prstDash val="solid"/>
            <a:headEnd type="none" w="med" len="med"/>
            <a:tailEnd type="none" w="med" len="med"/>
          </a:ln>
          <a:effectLst/>
        </p:spPr>
        <p:txBody>
          <a:bodyPr lIns="179234" tIns="143387" rIns="179234" bIns="143387"/>
          <a:lstStyle/>
          <a:p>
            <a:pPr marL="0" lvl="2" algn="ctr" defTabSz="914367">
              <a:spcBef>
                <a:spcPct val="20000"/>
              </a:spcBef>
              <a:spcAft>
                <a:spcPts val="588"/>
              </a:spcAft>
              <a:buSzPct val="90000"/>
              <a:defRPr/>
            </a:pPr>
            <a:r>
              <a:rPr lang="en-US" sz="1470" dirty="0">
                <a:gradFill>
                  <a:gsLst>
                    <a:gs pos="0">
                      <a:srgbClr val="FFFFFF"/>
                    </a:gs>
                    <a:gs pos="100000">
                      <a:srgbClr val="FFFFFF"/>
                    </a:gs>
                  </a:gsLst>
                  <a:lin ang="5400000" scaled="0"/>
                </a:gradFill>
                <a:latin typeface="Segoe UI Semilight"/>
                <a:cs typeface="Segoe UI" panose="020B0502040204020203" pitchFamily="34" charset="0"/>
              </a:rPr>
              <a:t>In-memory malware and </a:t>
            </a:r>
            <a:br>
              <a:rPr lang="en-US" sz="1470" dirty="0">
                <a:gradFill>
                  <a:gsLst>
                    <a:gs pos="0">
                      <a:srgbClr val="FFFFFF"/>
                    </a:gs>
                    <a:gs pos="100000">
                      <a:srgbClr val="FFFFFF"/>
                    </a:gs>
                  </a:gsLst>
                  <a:lin ang="5400000" scaled="0"/>
                </a:gradFill>
                <a:latin typeface="Segoe UI Semilight"/>
                <a:cs typeface="Segoe UI" panose="020B0502040204020203" pitchFamily="34" charset="0"/>
              </a:rPr>
            </a:br>
            <a:r>
              <a:rPr lang="en-US" sz="1470" dirty="0">
                <a:gradFill>
                  <a:gsLst>
                    <a:gs pos="0">
                      <a:srgbClr val="FFFFFF"/>
                    </a:gs>
                    <a:gs pos="100000">
                      <a:srgbClr val="FFFFFF"/>
                    </a:gs>
                  </a:gsLst>
                  <a:lin ang="5400000" scaled="0"/>
                </a:gradFill>
                <a:latin typeface="Segoe UI Semilight"/>
                <a:cs typeface="Segoe UI" panose="020B0502040204020203" pitchFamily="34" charset="0"/>
              </a:rPr>
              <a:t>exploit attempts</a:t>
            </a:r>
          </a:p>
          <a:p>
            <a:pPr marL="0" lvl="2" algn="ctr" defTabSz="914367">
              <a:spcBef>
                <a:spcPct val="20000"/>
              </a:spcBef>
              <a:spcAft>
                <a:spcPts val="588"/>
              </a:spcAft>
              <a:buSzPct val="90000"/>
              <a:defRPr/>
            </a:pPr>
            <a:r>
              <a:rPr lang="en-US" sz="1470" dirty="0">
                <a:gradFill>
                  <a:gsLst>
                    <a:gs pos="0">
                      <a:srgbClr val="FFFFFF"/>
                    </a:gs>
                    <a:gs pos="100000">
                      <a:srgbClr val="FFFFFF"/>
                    </a:gs>
                  </a:gsLst>
                  <a:lin ang="5400000" scaled="0"/>
                </a:gradFill>
                <a:latin typeface="Segoe UI Semilight"/>
                <a:cs typeface="Segoe UI" panose="020B0502040204020203" pitchFamily="34" charset="0"/>
              </a:rPr>
              <a:t>Suspicious process execution</a:t>
            </a:r>
          </a:p>
          <a:p>
            <a:pPr marL="0" lvl="2" algn="ctr" defTabSz="914367">
              <a:spcBef>
                <a:spcPct val="20000"/>
              </a:spcBef>
              <a:spcAft>
                <a:spcPts val="588"/>
              </a:spcAft>
              <a:buSzPct val="90000"/>
              <a:defRPr/>
            </a:pPr>
            <a:r>
              <a:rPr lang="en-US" sz="1470" dirty="0">
                <a:gradFill>
                  <a:gsLst>
                    <a:gs pos="0">
                      <a:srgbClr val="FFFFFF"/>
                    </a:gs>
                    <a:gs pos="100000">
                      <a:srgbClr val="FFFFFF"/>
                    </a:gs>
                  </a:gsLst>
                  <a:lin ang="5400000" scaled="0"/>
                </a:gradFill>
                <a:latin typeface="Segoe UI Semilight"/>
                <a:cs typeface="Segoe UI" panose="020B0502040204020203" pitchFamily="34" charset="0"/>
              </a:rPr>
              <a:t>Lateral movement</a:t>
            </a:r>
          </a:p>
          <a:p>
            <a:pPr marL="0" lvl="2" algn="ctr" defTabSz="914367">
              <a:spcBef>
                <a:spcPct val="20000"/>
              </a:spcBef>
              <a:spcAft>
                <a:spcPts val="588"/>
              </a:spcAft>
              <a:buSzPct val="90000"/>
              <a:defRPr/>
            </a:pPr>
            <a:r>
              <a:rPr lang="en-US" sz="1470" dirty="0">
                <a:gradFill>
                  <a:gsLst>
                    <a:gs pos="0">
                      <a:srgbClr val="FFFFFF"/>
                    </a:gs>
                    <a:gs pos="100000">
                      <a:srgbClr val="FFFFFF"/>
                    </a:gs>
                  </a:gsLst>
                  <a:lin ang="5400000" scaled="0"/>
                </a:gradFill>
                <a:latin typeface="Segoe UI Semilight"/>
                <a:cs typeface="Segoe UI" panose="020B0502040204020203" pitchFamily="34" charset="0"/>
              </a:rPr>
              <a:t>Internal reconnaissance</a:t>
            </a:r>
          </a:p>
        </p:txBody>
      </p:sp>
      <p:sp>
        <p:nvSpPr>
          <p:cNvPr id="105" name="Rectangle 104"/>
          <p:cNvSpPr/>
          <p:nvPr/>
        </p:nvSpPr>
        <p:spPr bwMode="auto">
          <a:xfrm>
            <a:off x="7788618" y="4005347"/>
            <a:ext cx="3254838" cy="2026578"/>
          </a:xfrm>
          <a:prstGeom prst="rect">
            <a:avLst/>
          </a:prstGeom>
          <a:noFill/>
          <a:ln w="9525" cap="flat" cmpd="sng" algn="ctr">
            <a:noFill/>
            <a:prstDash val="solid"/>
            <a:headEnd type="none" w="med" len="med"/>
            <a:tailEnd type="none" w="med" len="med"/>
          </a:ln>
          <a:effectLst/>
        </p:spPr>
        <p:txBody>
          <a:bodyPr lIns="179234" tIns="143387" rIns="179234" bIns="143387"/>
          <a:lstStyle/>
          <a:p>
            <a:pPr marL="0" lvl="2" algn="ctr" defTabSz="914367">
              <a:spcBef>
                <a:spcPct val="20000"/>
              </a:spcBef>
              <a:spcAft>
                <a:spcPts val="588"/>
              </a:spcAft>
              <a:buSzPct val="90000"/>
              <a:defRPr/>
            </a:pPr>
            <a:r>
              <a:rPr lang="en-US" sz="1470" dirty="0">
                <a:gradFill>
                  <a:gsLst>
                    <a:gs pos="0">
                      <a:srgbClr val="FFFFFF"/>
                    </a:gs>
                    <a:gs pos="100000">
                      <a:srgbClr val="FFFFFF"/>
                    </a:gs>
                  </a:gsLst>
                  <a:lin ang="5400000" scaled="0"/>
                </a:gradFill>
                <a:latin typeface="Segoe UI Semilight"/>
                <a:cs typeface="Segoe UI" panose="020B0502040204020203" pitchFamily="34" charset="0"/>
              </a:rPr>
              <a:t>Communication to a known malicious IP (data exfiltration or command and control)</a:t>
            </a:r>
          </a:p>
          <a:p>
            <a:pPr marL="0" lvl="2" algn="ctr" defTabSz="914367">
              <a:spcBef>
                <a:spcPct val="20000"/>
              </a:spcBef>
              <a:spcAft>
                <a:spcPts val="588"/>
              </a:spcAft>
              <a:buSzPct val="90000"/>
              <a:defRPr/>
            </a:pPr>
            <a:r>
              <a:rPr lang="en-US" sz="1470" dirty="0">
                <a:gradFill>
                  <a:gsLst>
                    <a:gs pos="0">
                      <a:srgbClr val="FFFFFF"/>
                    </a:gs>
                    <a:gs pos="100000">
                      <a:srgbClr val="FFFFFF"/>
                    </a:gs>
                  </a:gsLst>
                  <a:lin ang="5400000" scaled="0"/>
                </a:gradFill>
                <a:latin typeface="Segoe UI Semilight"/>
                <a:cs typeface="Segoe UI" panose="020B0502040204020203" pitchFamily="34" charset="0"/>
              </a:rPr>
              <a:t>Using compromised resources to mount additional attacks (outbound port scanning, brute-force RDP/SSH attacks, DDoS, and spam)</a:t>
            </a:r>
          </a:p>
        </p:txBody>
      </p:sp>
      <p:sp>
        <p:nvSpPr>
          <p:cNvPr id="106" name="Rectangle 105"/>
          <p:cNvSpPr/>
          <p:nvPr/>
        </p:nvSpPr>
        <p:spPr bwMode="auto">
          <a:xfrm>
            <a:off x="8111745" y="2914594"/>
            <a:ext cx="2644583" cy="583499"/>
          </a:xfrm>
          <a:prstGeom prst="rect">
            <a:avLst/>
          </a:prstGeom>
          <a:noFill/>
          <a:ln w="25400" cap="sq" cmpd="sng" algn="ctr">
            <a:noFill/>
            <a:prstDash val="solid"/>
            <a:miter lim="800000"/>
            <a:headEnd type="none" w="med" len="med"/>
            <a:tailEnd type="none" w="med" len="med"/>
          </a:ln>
          <a:effectLst/>
        </p:spPr>
        <p:txBody>
          <a:bodyPr lIns="179234" tIns="143387" rIns="179234" bIns="143387"/>
          <a:lstStyle/>
          <a:p>
            <a:pPr marL="0" lvl="1" algn="ctr" defTabSz="913874">
              <a:lnSpc>
                <a:spcPct val="90000"/>
              </a:lnSpc>
              <a:spcBef>
                <a:spcPts val="588"/>
              </a:spcBef>
              <a:spcAft>
                <a:spcPts val="588"/>
              </a:spcAft>
              <a:buSzPct val="90000"/>
              <a:defRPr/>
            </a:pPr>
            <a:r>
              <a:rPr lang="en-US" sz="2157" b="1" kern="0" dirty="0">
                <a:solidFill>
                  <a:srgbClr val="004BBB"/>
                </a:solidFill>
                <a:latin typeface="Segoe UI Semibold" panose="020B0702040204020203" pitchFamily="34" charset="0"/>
                <a:cs typeface="Segoe UI Semibold" panose="020B0702040204020203" pitchFamily="34" charset="0"/>
              </a:rPr>
              <a:t>Post breach</a:t>
            </a:r>
          </a:p>
        </p:txBody>
      </p:sp>
      <p:sp>
        <p:nvSpPr>
          <p:cNvPr id="109" name="Rectangle 108"/>
          <p:cNvSpPr/>
          <p:nvPr/>
        </p:nvSpPr>
        <p:spPr bwMode="auto">
          <a:xfrm>
            <a:off x="11304912" y="3860094"/>
            <a:ext cx="887088" cy="24075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Isosceles Triangle 80"/>
          <p:cNvSpPr/>
          <p:nvPr/>
        </p:nvSpPr>
        <p:spPr bwMode="auto">
          <a:xfrm>
            <a:off x="2765390" y="3741902"/>
            <a:ext cx="331634" cy="124503"/>
          </a:xfrm>
          <a:prstGeom prst="triangle">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solidFill>
                <a:srgbClr val="004BBB"/>
              </a:solidFill>
              <a:latin typeface="Segoe UI Semilight"/>
              <a:ea typeface="Segoe UI" pitchFamily="34" charset="0"/>
              <a:cs typeface="Segoe UI" pitchFamily="34" charset="0"/>
            </a:endParaRPr>
          </a:p>
        </p:txBody>
      </p:sp>
      <p:sp>
        <p:nvSpPr>
          <p:cNvPr id="110" name="Isosceles Triangle 109"/>
          <p:cNvSpPr/>
          <p:nvPr/>
        </p:nvSpPr>
        <p:spPr bwMode="auto">
          <a:xfrm>
            <a:off x="6007107" y="3741902"/>
            <a:ext cx="331634" cy="124503"/>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solidFill>
                <a:srgbClr val="004BBB"/>
              </a:solidFill>
              <a:latin typeface="Segoe UI Semilight"/>
              <a:ea typeface="Segoe UI" pitchFamily="34" charset="0"/>
              <a:cs typeface="Segoe UI" pitchFamily="34" charset="0"/>
            </a:endParaRPr>
          </a:p>
        </p:txBody>
      </p:sp>
      <p:sp>
        <p:nvSpPr>
          <p:cNvPr id="111" name="Isosceles Triangle 110"/>
          <p:cNvSpPr/>
          <p:nvPr/>
        </p:nvSpPr>
        <p:spPr bwMode="auto">
          <a:xfrm>
            <a:off x="9233630" y="3741902"/>
            <a:ext cx="331634" cy="124503"/>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solidFill>
                <a:srgbClr val="004BBB"/>
              </a:solidFill>
              <a:latin typeface="Segoe UI Semilight"/>
              <a:ea typeface="Segoe UI" pitchFamily="34" charset="0"/>
              <a:cs typeface="Segoe UI" pitchFamily="34" charset="0"/>
            </a:endParaRPr>
          </a:p>
        </p:txBody>
      </p:sp>
      <p:grpSp>
        <p:nvGrpSpPr>
          <p:cNvPr id="44" name="Group 43"/>
          <p:cNvGrpSpPr/>
          <p:nvPr/>
        </p:nvGrpSpPr>
        <p:grpSpPr>
          <a:xfrm>
            <a:off x="11099330" y="321705"/>
            <a:ext cx="776189" cy="776902"/>
            <a:chOff x="9688334" y="2466549"/>
            <a:chExt cx="1397705" cy="1398989"/>
          </a:xfrm>
          <a:solidFill>
            <a:schemeClr val="bg1"/>
          </a:solidFill>
        </p:grpSpPr>
        <p:sp>
          <p:nvSpPr>
            <p:cNvPr id="46" name="Freeform 14"/>
            <p:cNvSpPr>
              <a:spLocks/>
            </p:cNvSpPr>
            <p:nvPr/>
          </p:nvSpPr>
          <p:spPr bwMode="auto">
            <a:xfrm>
              <a:off x="10354458" y="2466549"/>
              <a:ext cx="639171" cy="627620"/>
            </a:xfrm>
            <a:custGeom>
              <a:avLst/>
              <a:gdLst>
                <a:gd name="T0" fmla="*/ 24 w 243"/>
                <a:gd name="T1" fmla="*/ 57 h 238"/>
                <a:gd name="T2" fmla="*/ 219 w 243"/>
                <a:gd name="T3" fmla="*/ 236 h 238"/>
                <a:gd name="T4" fmla="*/ 219 w 243"/>
                <a:gd name="T5" fmla="*/ 238 h 238"/>
                <a:gd name="T6" fmla="*/ 243 w 243"/>
                <a:gd name="T7" fmla="*/ 238 h 238"/>
                <a:gd name="T8" fmla="*/ 243 w 243"/>
                <a:gd name="T9" fmla="*/ 236 h 238"/>
                <a:gd name="T10" fmla="*/ 24 w 243"/>
                <a:gd name="T11" fmla="*/ 33 h 238"/>
                <a:gd name="T12" fmla="*/ 24 w 243"/>
                <a:gd name="T13" fmla="*/ 0 h 238"/>
                <a:gd name="T14" fmla="*/ 0 w 243"/>
                <a:gd name="T15" fmla="*/ 0 h 238"/>
                <a:gd name="T16" fmla="*/ 0 w 243"/>
                <a:gd name="T17" fmla="*/ 91 h 238"/>
                <a:gd name="T18" fmla="*/ 24 w 243"/>
                <a:gd name="T19" fmla="*/ 91 h 238"/>
                <a:gd name="T20" fmla="*/ 24 w 243"/>
                <a:gd name="T21" fmla="*/ 5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238">
                  <a:moveTo>
                    <a:pt x="24" y="57"/>
                  </a:moveTo>
                  <a:cubicBezTo>
                    <a:pt x="123" y="63"/>
                    <a:pt x="205" y="138"/>
                    <a:pt x="219" y="236"/>
                  </a:cubicBezTo>
                  <a:cubicBezTo>
                    <a:pt x="219" y="238"/>
                    <a:pt x="219" y="238"/>
                    <a:pt x="219" y="238"/>
                  </a:cubicBezTo>
                  <a:cubicBezTo>
                    <a:pt x="243" y="238"/>
                    <a:pt x="243" y="238"/>
                    <a:pt x="243" y="238"/>
                  </a:cubicBezTo>
                  <a:cubicBezTo>
                    <a:pt x="243" y="236"/>
                    <a:pt x="243" y="236"/>
                    <a:pt x="243" y="236"/>
                  </a:cubicBezTo>
                  <a:cubicBezTo>
                    <a:pt x="229" y="124"/>
                    <a:pt x="137" y="39"/>
                    <a:pt x="24" y="33"/>
                  </a:cubicBezTo>
                  <a:cubicBezTo>
                    <a:pt x="24" y="0"/>
                    <a:pt x="24" y="0"/>
                    <a:pt x="24" y="0"/>
                  </a:cubicBezTo>
                  <a:cubicBezTo>
                    <a:pt x="0" y="0"/>
                    <a:pt x="0" y="0"/>
                    <a:pt x="0" y="0"/>
                  </a:cubicBezTo>
                  <a:cubicBezTo>
                    <a:pt x="0" y="91"/>
                    <a:pt x="0" y="91"/>
                    <a:pt x="0" y="91"/>
                  </a:cubicBezTo>
                  <a:cubicBezTo>
                    <a:pt x="24" y="91"/>
                    <a:pt x="24" y="91"/>
                    <a:pt x="24" y="91"/>
                  </a:cubicBezTo>
                  <a:lnTo>
                    <a:pt x="2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004BBB"/>
                </a:solidFill>
                <a:latin typeface="Segoe UI Semilight"/>
              </a:endParaRPr>
            </a:p>
          </p:txBody>
        </p:sp>
        <p:sp>
          <p:nvSpPr>
            <p:cNvPr id="47" name="Freeform 15"/>
            <p:cNvSpPr>
              <a:spLocks/>
            </p:cNvSpPr>
            <p:nvPr/>
          </p:nvSpPr>
          <p:spPr bwMode="auto">
            <a:xfrm>
              <a:off x="9780744" y="3241769"/>
              <a:ext cx="636604" cy="623769"/>
            </a:xfrm>
            <a:custGeom>
              <a:avLst/>
              <a:gdLst>
                <a:gd name="T0" fmla="*/ 218 w 242"/>
                <a:gd name="T1" fmla="*/ 180 h 237"/>
                <a:gd name="T2" fmla="*/ 24 w 242"/>
                <a:gd name="T3" fmla="*/ 1 h 237"/>
                <a:gd name="T4" fmla="*/ 24 w 242"/>
                <a:gd name="T5" fmla="*/ 0 h 237"/>
                <a:gd name="T6" fmla="*/ 0 w 242"/>
                <a:gd name="T7" fmla="*/ 0 h 237"/>
                <a:gd name="T8" fmla="*/ 0 w 242"/>
                <a:gd name="T9" fmla="*/ 2 h 237"/>
                <a:gd name="T10" fmla="*/ 218 w 242"/>
                <a:gd name="T11" fmla="*/ 204 h 237"/>
                <a:gd name="T12" fmla="*/ 218 w 242"/>
                <a:gd name="T13" fmla="*/ 237 h 237"/>
                <a:gd name="T14" fmla="*/ 242 w 242"/>
                <a:gd name="T15" fmla="*/ 237 h 237"/>
                <a:gd name="T16" fmla="*/ 242 w 242"/>
                <a:gd name="T17" fmla="*/ 146 h 237"/>
                <a:gd name="T18" fmla="*/ 218 w 242"/>
                <a:gd name="T19" fmla="*/ 146 h 237"/>
                <a:gd name="T20" fmla="*/ 218 w 242"/>
                <a:gd name="T21" fmla="*/ 18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237">
                  <a:moveTo>
                    <a:pt x="218" y="180"/>
                  </a:moveTo>
                  <a:cubicBezTo>
                    <a:pt x="120" y="174"/>
                    <a:pt x="38" y="99"/>
                    <a:pt x="24" y="1"/>
                  </a:cubicBezTo>
                  <a:cubicBezTo>
                    <a:pt x="24" y="0"/>
                    <a:pt x="24" y="0"/>
                    <a:pt x="24" y="0"/>
                  </a:cubicBezTo>
                  <a:cubicBezTo>
                    <a:pt x="0" y="0"/>
                    <a:pt x="0" y="0"/>
                    <a:pt x="0" y="0"/>
                  </a:cubicBezTo>
                  <a:cubicBezTo>
                    <a:pt x="0" y="2"/>
                    <a:pt x="0" y="2"/>
                    <a:pt x="0" y="2"/>
                  </a:cubicBezTo>
                  <a:cubicBezTo>
                    <a:pt x="15" y="113"/>
                    <a:pt x="106" y="198"/>
                    <a:pt x="218" y="204"/>
                  </a:cubicBezTo>
                  <a:cubicBezTo>
                    <a:pt x="218" y="237"/>
                    <a:pt x="218" y="237"/>
                    <a:pt x="218" y="237"/>
                  </a:cubicBezTo>
                  <a:cubicBezTo>
                    <a:pt x="242" y="237"/>
                    <a:pt x="242" y="237"/>
                    <a:pt x="242" y="237"/>
                  </a:cubicBezTo>
                  <a:cubicBezTo>
                    <a:pt x="242" y="146"/>
                    <a:pt x="242" y="146"/>
                    <a:pt x="242" y="146"/>
                  </a:cubicBezTo>
                  <a:cubicBezTo>
                    <a:pt x="218" y="146"/>
                    <a:pt x="218" y="146"/>
                    <a:pt x="218" y="146"/>
                  </a:cubicBezTo>
                  <a:lnTo>
                    <a:pt x="218"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004BBB"/>
                </a:solidFill>
                <a:latin typeface="Segoe UI Semilight"/>
              </a:endParaRPr>
            </a:p>
          </p:txBody>
        </p:sp>
        <p:sp>
          <p:nvSpPr>
            <p:cNvPr id="48" name="Freeform 16"/>
            <p:cNvSpPr>
              <a:spLocks/>
            </p:cNvSpPr>
            <p:nvPr/>
          </p:nvSpPr>
          <p:spPr bwMode="auto">
            <a:xfrm>
              <a:off x="10459703" y="3135240"/>
              <a:ext cx="626336" cy="637888"/>
            </a:xfrm>
            <a:custGeom>
              <a:avLst/>
              <a:gdLst>
                <a:gd name="T0" fmla="*/ 147 w 238"/>
                <a:gd name="T1" fmla="*/ 0 h 242"/>
                <a:gd name="T2" fmla="*/ 147 w 238"/>
                <a:gd name="T3" fmla="*/ 24 h 242"/>
                <a:gd name="T4" fmla="*/ 181 w 238"/>
                <a:gd name="T5" fmla="*/ 24 h 242"/>
                <a:gd name="T6" fmla="*/ 2 w 238"/>
                <a:gd name="T7" fmla="*/ 218 h 242"/>
                <a:gd name="T8" fmla="*/ 0 w 238"/>
                <a:gd name="T9" fmla="*/ 218 h 242"/>
                <a:gd name="T10" fmla="*/ 0 w 238"/>
                <a:gd name="T11" fmla="*/ 242 h 242"/>
                <a:gd name="T12" fmla="*/ 3 w 238"/>
                <a:gd name="T13" fmla="*/ 242 h 242"/>
                <a:gd name="T14" fmla="*/ 205 w 238"/>
                <a:gd name="T15" fmla="*/ 24 h 242"/>
                <a:gd name="T16" fmla="*/ 238 w 238"/>
                <a:gd name="T17" fmla="*/ 24 h 242"/>
                <a:gd name="T18" fmla="*/ 238 w 238"/>
                <a:gd name="T19" fmla="*/ 0 h 242"/>
                <a:gd name="T20" fmla="*/ 147 w 238"/>
                <a:gd name="T21"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42">
                  <a:moveTo>
                    <a:pt x="147" y="0"/>
                  </a:moveTo>
                  <a:cubicBezTo>
                    <a:pt x="147" y="24"/>
                    <a:pt x="147" y="24"/>
                    <a:pt x="147" y="24"/>
                  </a:cubicBezTo>
                  <a:cubicBezTo>
                    <a:pt x="181" y="24"/>
                    <a:pt x="181" y="24"/>
                    <a:pt x="181" y="24"/>
                  </a:cubicBezTo>
                  <a:cubicBezTo>
                    <a:pt x="175" y="122"/>
                    <a:pt x="100" y="204"/>
                    <a:pt x="2" y="218"/>
                  </a:cubicBezTo>
                  <a:cubicBezTo>
                    <a:pt x="0" y="218"/>
                    <a:pt x="0" y="218"/>
                    <a:pt x="0" y="218"/>
                  </a:cubicBezTo>
                  <a:cubicBezTo>
                    <a:pt x="0" y="242"/>
                    <a:pt x="0" y="242"/>
                    <a:pt x="0" y="242"/>
                  </a:cubicBezTo>
                  <a:cubicBezTo>
                    <a:pt x="3" y="242"/>
                    <a:pt x="3" y="242"/>
                    <a:pt x="3" y="242"/>
                  </a:cubicBezTo>
                  <a:cubicBezTo>
                    <a:pt x="114" y="227"/>
                    <a:pt x="199" y="136"/>
                    <a:pt x="205" y="24"/>
                  </a:cubicBezTo>
                  <a:cubicBezTo>
                    <a:pt x="238" y="24"/>
                    <a:pt x="238" y="24"/>
                    <a:pt x="238" y="24"/>
                  </a:cubicBezTo>
                  <a:cubicBezTo>
                    <a:pt x="238" y="0"/>
                    <a:pt x="238" y="0"/>
                    <a:pt x="238" y="0"/>
                  </a:cubicBez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004BBB"/>
                </a:solidFill>
                <a:latin typeface="Segoe UI Semilight"/>
              </a:endParaRPr>
            </a:p>
          </p:txBody>
        </p:sp>
        <p:sp>
          <p:nvSpPr>
            <p:cNvPr id="49" name="Freeform 17"/>
            <p:cNvSpPr>
              <a:spLocks/>
            </p:cNvSpPr>
            <p:nvPr/>
          </p:nvSpPr>
          <p:spPr bwMode="auto">
            <a:xfrm>
              <a:off x="9688334" y="2558959"/>
              <a:ext cx="623769" cy="640455"/>
            </a:xfrm>
            <a:custGeom>
              <a:avLst/>
              <a:gdLst>
                <a:gd name="T0" fmla="*/ 91 w 237"/>
                <a:gd name="T1" fmla="*/ 219 h 243"/>
                <a:gd name="T2" fmla="*/ 57 w 237"/>
                <a:gd name="T3" fmla="*/ 219 h 243"/>
                <a:gd name="T4" fmla="*/ 236 w 237"/>
                <a:gd name="T5" fmla="*/ 24 h 243"/>
                <a:gd name="T6" fmla="*/ 237 w 237"/>
                <a:gd name="T7" fmla="*/ 24 h 243"/>
                <a:gd name="T8" fmla="*/ 237 w 237"/>
                <a:gd name="T9" fmla="*/ 0 h 243"/>
                <a:gd name="T10" fmla="*/ 235 w 237"/>
                <a:gd name="T11" fmla="*/ 0 h 243"/>
                <a:gd name="T12" fmla="*/ 33 w 237"/>
                <a:gd name="T13" fmla="*/ 219 h 243"/>
                <a:gd name="T14" fmla="*/ 0 w 237"/>
                <a:gd name="T15" fmla="*/ 219 h 243"/>
                <a:gd name="T16" fmla="*/ 0 w 237"/>
                <a:gd name="T17" fmla="*/ 243 h 243"/>
                <a:gd name="T18" fmla="*/ 91 w 237"/>
                <a:gd name="T19" fmla="*/ 243 h 243"/>
                <a:gd name="T20" fmla="*/ 91 w 237"/>
                <a:gd name="T21" fmla="*/ 21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243">
                  <a:moveTo>
                    <a:pt x="91" y="219"/>
                  </a:moveTo>
                  <a:cubicBezTo>
                    <a:pt x="57" y="219"/>
                    <a:pt x="57" y="219"/>
                    <a:pt x="57" y="219"/>
                  </a:cubicBezTo>
                  <a:cubicBezTo>
                    <a:pt x="63" y="120"/>
                    <a:pt x="138" y="38"/>
                    <a:pt x="236" y="24"/>
                  </a:cubicBezTo>
                  <a:cubicBezTo>
                    <a:pt x="237" y="24"/>
                    <a:pt x="237" y="24"/>
                    <a:pt x="237" y="24"/>
                  </a:cubicBezTo>
                  <a:cubicBezTo>
                    <a:pt x="237" y="0"/>
                    <a:pt x="237" y="0"/>
                    <a:pt x="237" y="0"/>
                  </a:cubicBezTo>
                  <a:cubicBezTo>
                    <a:pt x="235" y="0"/>
                    <a:pt x="235" y="0"/>
                    <a:pt x="235" y="0"/>
                  </a:cubicBezTo>
                  <a:cubicBezTo>
                    <a:pt x="124" y="15"/>
                    <a:pt x="39" y="106"/>
                    <a:pt x="33" y="219"/>
                  </a:cubicBezTo>
                  <a:cubicBezTo>
                    <a:pt x="0" y="219"/>
                    <a:pt x="0" y="219"/>
                    <a:pt x="0" y="219"/>
                  </a:cubicBezTo>
                  <a:cubicBezTo>
                    <a:pt x="0" y="243"/>
                    <a:pt x="0" y="243"/>
                    <a:pt x="0" y="243"/>
                  </a:cubicBezTo>
                  <a:cubicBezTo>
                    <a:pt x="91" y="243"/>
                    <a:pt x="91" y="243"/>
                    <a:pt x="91" y="243"/>
                  </a:cubicBezTo>
                  <a:lnTo>
                    <a:pt x="91"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004BBB"/>
                </a:solidFill>
                <a:latin typeface="Segoe UI Semilight"/>
              </a:endParaRPr>
            </a:p>
          </p:txBody>
        </p:sp>
        <p:sp>
          <p:nvSpPr>
            <p:cNvPr id="50" name="Freeform 18"/>
            <p:cNvSpPr>
              <a:spLocks noEditPoints="1"/>
            </p:cNvSpPr>
            <p:nvPr/>
          </p:nvSpPr>
          <p:spPr bwMode="auto">
            <a:xfrm>
              <a:off x="10038723" y="2774583"/>
              <a:ext cx="723880" cy="432532"/>
            </a:xfrm>
            <a:custGeom>
              <a:avLst/>
              <a:gdLst>
                <a:gd name="T0" fmla="*/ 0 w 275"/>
                <a:gd name="T1" fmla="*/ 68 h 164"/>
                <a:gd name="T2" fmla="*/ 68 w 275"/>
                <a:gd name="T3" fmla="*/ 136 h 164"/>
                <a:gd name="T4" fmla="*/ 77 w 275"/>
                <a:gd name="T5" fmla="*/ 136 h 164"/>
                <a:gd name="T6" fmla="*/ 85 w 275"/>
                <a:gd name="T7" fmla="*/ 164 h 164"/>
                <a:gd name="T8" fmla="*/ 108 w 275"/>
                <a:gd name="T9" fmla="*/ 157 h 164"/>
                <a:gd name="T10" fmla="*/ 99 w 275"/>
                <a:gd name="T11" fmla="*/ 129 h 164"/>
                <a:gd name="T12" fmla="*/ 132 w 275"/>
                <a:gd name="T13" fmla="*/ 93 h 164"/>
                <a:gd name="T14" fmla="*/ 178 w 275"/>
                <a:gd name="T15" fmla="*/ 109 h 164"/>
                <a:gd name="T16" fmla="*/ 178 w 275"/>
                <a:gd name="T17" fmla="*/ 114 h 164"/>
                <a:gd name="T18" fmla="*/ 226 w 275"/>
                <a:gd name="T19" fmla="*/ 163 h 164"/>
                <a:gd name="T20" fmla="*/ 275 w 275"/>
                <a:gd name="T21" fmla="*/ 114 h 164"/>
                <a:gd name="T22" fmla="*/ 226 w 275"/>
                <a:gd name="T23" fmla="*/ 65 h 164"/>
                <a:gd name="T24" fmla="*/ 186 w 275"/>
                <a:gd name="T25" fmla="*/ 86 h 164"/>
                <a:gd name="T26" fmla="*/ 136 w 275"/>
                <a:gd name="T27" fmla="*/ 69 h 164"/>
                <a:gd name="T28" fmla="*/ 136 w 275"/>
                <a:gd name="T29" fmla="*/ 68 h 164"/>
                <a:gd name="T30" fmla="*/ 68 w 275"/>
                <a:gd name="T31" fmla="*/ 0 h 164"/>
                <a:gd name="T32" fmla="*/ 0 w 275"/>
                <a:gd name="T33" fmla="*/ 68 h 164"/>
                <a:gd name="T34" fmla="*/ 68 w 275"/>
                <a:gd name="T35" fmla="*/ 24 h 164"/>
                <a:gd name="T36" fmla="*/ 112 w 275"/>
                <a:gd name="T37" fmla="*/ 68 h 164"/>
                <a:gd name="T38" fmla="*/ 68 w 275"/>
                <a:gd name="T39" fmla="*/ 112 h 164"/>
                <a:gd name="T40" fmla="*/ 24 w 275"/>
                <a:gd name="T41" fmla="*/ 68 h 164"/>
                <a:gd name="T42" fmla="*/ 68 w 275"/>
                <a:gd name="T43" fmla="*/ 24 h 164"/>
                <a:gd name="T44" fmla="*/ 226 w 275"/>
                <a:gd name="T45" fmla="*/ 89 h 164"/>
                <a:gd name="T46" fmla="*/ 251 w 275"/>
                <a:gd name="T47" fmla="*/ 114 h 164"/>
                <a:gd name="T48" fmla="*/ 226 w 275"/>
                <a:gd name="T49" fmla="*/ 139 h 164"/>
                <a:gd name="T50" fmla="*/ 202 w 275"/>
                <a:gd name="T51" fmla="*/ 114 h 164"/>
                <a:gd name="T52" fmla="*/ 226 w 275"/>
                <a:gd name="T53" fmla="*/ 8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5" h="164">
                  <a:moveTo>
                    <a:pt x="0" y="68"/>
                  </a:moveTo>
                  <a:cubicBezTo>
                    <a:pt x="0" y="106"/>
                    <a:pt x="31" y="136"/>
                    <a:pt x="68" y="136"/>
                  </a:cubicBezTo>
                  <a:cubicBezTo>
                    <a:pt x="71" y="136"/>
                    <a:pt x="73" y="136"/>
                    <a:pt x="77" y="136"/>
                  </a:cubicBezTo>
                  <a:cubicBezTo>
                    <a:pt x="85" y="164"/>
                    <a:pt x="85" y="164"/>
                    <a:pt x="85" y="164"/>
                  </a:cubicBezTo>
                  <a:cubicBezTo>
                    <a:pt x="108" y="157"/>
                    <a:pt x="108" y="157"/>
                    <a:pt x="108" y="157"/>
                  </a:cubicBezTo>
                  <a:cubicBezTo>
                    <a:pt x="99" y="129"/>
                    <a:pt x="99" y="129"/>
                    <a:pt x="99" y="129"/>
                  </a:cubicBezTo>
                  <a:cubicBezTo>
                    <a:pt x="114" y="121"/>
                    <a:pt x="126" y="108"/>
                    <a:pt x="132" y="93"/>
                  </a:cubicBezTo>
                  <a:cubicBezTo>
                    <a:pt x="178" y="109"/>
                    <a:pt x="178" y="109"/>
                    <a:pt x="178" y="109"/>
                  </a:cubicBezTo>
                  <a:cubicBezTo>
                    <a:pt x="178" y="111"/>
                    <a:pt x="178" y="113"/>
                    <a:pt x="178" y="114"/>
                  </a:cubicBezTo>
                  <a:cubicBezTo>
                    <a:pt x="178" y="141"/>
                    <a:pt x="199" y="163"/>
                    <a:pt x="226" y="163"/>
                  </a:cubicBezTo>
                  <a:cubicBezTo>
                    <a:pt x="253" y="163"/>
                    <a:pt x="275" y="141"/>
                    <a:pt x="275" y="114"/>
                  </a:cubicBezTo>
                  <a:cubicBezTo>
                    <a:pt x="275" y="87"/>
                    <a:pt x="253" y="65"/>
                    <a:pt x="226" y="65"/>
                  </a:cubicBezTo>
                  <a:cubicBezTo>
                    <a:pt x="210" y="65"/>
                    <a:pt x="196" y="73"/>
                    <a:pt x="186" y="86"/>
                  </a:cubicBezTo>
                  <a:cubicBezTo>
                    <a:pt x="136" y="69"/>
                    <a:pt x="136" y="69"/>
                    <a:pt x="136" y="69"/>
                  </a:cubicBezTo>
                  <a:cubicBezTo>
                    <a:pt x="136" y="69"/>
                    <a:pt x="136" y="69"/>
                    <a:pt x="136" y="68"/>
                  </a:cubicBezTo>
                  <a:cubicBezTo>
                    <a:pt x="136" y="31"/>
                    <a:pt x="106" y="0"/>
                    <a:pt x="68" y="0"/>
                  </a:cubicBezTo>
                  <a:cubicBezTo>
                    <a:pt x="31" y="0"/>
                    <a:pt x="0" y="31"/>
                    <a:pt x="0" y="68"/>
                  </a:cubicBezTo>
                  <a:close/>
                  <a:moveTo>
                    <a:pt x="68" y="24"/>
                  </a:moveTo>
                  <a:cubicBezTo>
                    <a:pt x="93" y="24"/>
                    <a:pt x="112" y="44"/>
                    <a:pt x="112" y="68"/>
                  </a:cubicBezTo>
                  <a:cubicBezTo>
                    <a:pt x="112" y="93"/>
                    <a:pt x="93" y="112"/>
                    <a:pt x="68" y="112"/>
                  </a:cubicBezTo>
                  <a:cubicBezTo>
                    <a:pt x="44" y="112"/>
                    <a:pt x="24" y="93"/>
                    <a:pt x="24" y="68"/>
                  </a:cubicBezTo>
                  <a:cubicBezTo>
                    <a:pt x="24" y="44"/>
                    <a:pt x="44" y="24"/>
                    <a:pt x="68" y="24"/>
                  </a:cubicBezTo>
                  <a:close/>
                  <a:moveTo>
                    <a:pt x="226" y="89"/>
                  </a:moveTo>
                  <a:cubicBezTo>
                    <a:pt x="240" y="89"/>
                    <a:pt x="251" y="101"/>
                    <a:pt x="251" y="114"/>
                  </a:cubicBezTo>
                  <a:cubicBezTo>
                    <a:pt x="251" y="128"/>
                    <a:pt x="240" y="139"/>
                    <a:pt x="226" y="139"/>
                  </a:cubicBezTo>
                  <a:cubicBezTo>
                    <a:pt x="213" y="139"/>
                    <a:pt x="202" y="128"/>
                    <a:pt x="202" y="114"/>
                  </a:cubicBezTo>
                  <a:cubicBezTo>
                    <a:pt x="202" y="101"/>
                    <a:pt x="213" y="89"/>
                    <a:pt x="22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004BBB"/>
                </a:solidFill>
                <a:latin typeface="Segoe UI Semilight"/>
              </a:endParaRPr>
            </a:p>
          </p:txBody>
        </p:sp>
        <p:sp>
          <p:nvSpPr>
            <p:cNvPr id="75" name="Freeform 19"/>
            <p:cNvSpPr>
              <a:spLocks noEditPoints="1"/>
            </p:cNvSpPr>
            <p:nvPr/>
          </p:nvSpPr>
          <p:spPr bwMode="auto">
            <a:xfrm>
              <a:off x="10186323" y="3172461"/>
              <a:ext cx="365790" cy="382476"/>
            </a:xfrm>
            <a:custGeom>
              <a:avLst/>
              <a:gdLst>
                <a:gd name="T0" fmla="*/ 121 w 139"/>
                <a:gd name="T1" fmla="*/ 0 h 145"/>
                <a:gd name="T2" fmla="*/ 96 w 139"/>
                <a:gd name="T3" fmla="*/ 27 h 145"/>
                <a:gd name="T4" fmla="*/ 63 w 139"/>
                <a:gd name="T5" fmla="*/ 18 h 145"/>
                <a:gd name="T6" fmla="*/ 0 w 139"/>
                <a:gd name="T7" fmla="*/ 81 h 145"/>
                <a:gd name="T8" fmla="*/ 63 w 139"/>
                <a:gd name="T9" fmla="*/ 145 h 145"/>
                <a:gd name="T10" fmla="*/ 126 w 139"/>
                <a:gd name="T11" fmla="*/ 81 h 145"/>
                <a:gd name="T12" fmla="*/ 114 w 139"/>
                <a:gd name="T13" fmla="*/ 44 h 145"/>
                <a:gd name="T14" fmla="*/ 139 w 139"/>
                <a:gd name="T15" fmla="*/ 16 h 145"/>
                <a:gd name="T16" fmla="*/ 121 w 139"/>
                <a:gd name="T17" fmla="*/ 0 h 145"/>
                <a:gd name="T18" fmla="*/ 63 w 139"/>
                <a:gd name="T19" fmla="*/ 121 h 145"/>
                <a:gd name="T20" fmla="*/ 24 w 139"/>
                <a:gd name="T21" fmla="*/ 81 h 145"/>
                <a:gd name="T22" fmla="*/ 63 w 139"/>
                <a:gd name="T23" fmla="*/ 42 h 145"/>
                <a:gd name="T24" fmla="*/ 102 w 139"/>
                <a:gd name="T25" fmla="*/ 81 h 145"/>
                <a:gd name="T26" fmla="*/ 63 w 139"/>
                <a:gd name="T27" fmla="*/ 12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45">
                  <a:moveTo>
                    <a:pt x="121" y="0"/>
                  </a:moveTo>
                  <a:cubicBezTo>
                    <a:pt x="96" y="27"/>
                    <a:pt x="96" y="27"/>
                    <a:pt x="96" y="27"/>
                  </a:cubicBezTo>
                  <a:cubicBezTo>
                    <a:pt x="86" y="21"/>
                    <a:pt x="75" y="18"/>
                    <a:pt x="63" y="18"/>
                  </a:cubicBezTo>
                  <a:cubicBezTo>
                    <a:pt x="28" y="18"/>
                    <a:pt x="0" y="46"/>
                    <a:pt x="0" y="81"/>
                  </a:cubicBezTo>
                  <a:cubicBezTo>
                    <a:pt x="0" y="116"/>
                    <a:pt x="28" y="145"/>
                    <a:pt x="63" y="145"/>
                  </a:cubicBezTo>
                  <a:cubicBezTo>
                    <a:pt x="98" y="145"/>
                    <a:pt x="126" y="116"/>
                    <a:pt x="126" y="81"/>
                  </a:cubicBezTo>
                  <a:cubicBezTo>
                    <a:pt x="126" y="68"/>
                    <a:pt x="122" y="55"/>
                    <a:pt x="114" y="44"/>
                  </a:cubicBezTo>
                  <a:cubicBezTo>
                    <a:pt x="139" y="16"/>
                    <a:pt x="139" y="16"/>
                    <a:pt x="139" y="16"/>
                  </a:cubicBezTo>
                  <a:lnTo>
                    <a:pt x="121" y="0"/>
                  </a:lnTo>
                  <a:close/>
                  <a:moveTo>
                    <a:pt x="63" y="121"/>
                  </a:moveTo>
                  <a:cubicBezTo>
                    <a:pt x="41" y="121"/>
                    <a:pt x="24" y="103"/>
                    <a:pt x="24" y="81"/>
                  </a:cubicBezTo>
                  <a:cubicBezTo>
                    <a:pt x="24" y="60"/>
                    <a:pt x="41" y="42"/>
                    <a:pt x="63" y="42"/>
                  </a:cubicBezTo>
                  <a:cubicBezTo>
                    <a:pt x="85" y="42"/>
                    <a:pt x="102" y="60"/>
                    <a:pt x="102" y="81"/>
                  </a:cubicBezTo>
                  <a:cubicBezTo>
                    <a:pt x="102" y="103"/>
                    <a:pt x="85" y="121"/>
                    <a:pt x="63"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004BBB"/>
                </a:solidFill>
                <a:latin typeface="Segoe UI Semilight"/>
              </a:endParaRPr>
            </a:p>
          </p:txBody>
        </p:sp>
      </p:grpSp>
    </p:spTree>
    <p:extLst>
      <p:ext uri="{BB962C8B-B14F-4D97-AF65-F5344CB8AC3E}">
        <p14:creationId xmlns:p14="http://schemas.microsoft.com/office/powerpoint/2010/main" val="3026653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2"/>
          <p:cNvSpPr txBox="1">
            <a:spLocks/>
          </p:cNvSpPr>
          <p:nvPr/>
        </p:nvSpPr>
        <p:spPr>
          <a:xfrm>
            <a:off x="269240" y="2626516"/>
            <a:ext cx="4210572" cy="2513380"/>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874">
              <a:spcBef>
                <a:spcPts val="0"/>
              </a:spcBef>
              <a:spcAft>
                <a:spcPts val="980"/>
              </a:spcAft>
              <a:buNone/>
              <a:defRPr/>
            </a:pPr>
            <a:r>
              <a:rPr lang="en-US" sz="1765" b="1" kern="0" dirty="0">
                <a:solidFill>
                  <a:schemeClr val="bg1"/>
                </a:solidFill>
                <a:latin typeface="Segoe UI" panose="020B0502040204020203" pitchFamily="34" charset="0"/>
                <a:cs typeface="Segoe UI" panose="020B0502040204020203" pitchFamily="34" charset="0"/>
              </a:rPr>
              <a:t>Get prioritized security alerts</a:t>
            </a:r>
          </a:p>
          <a:p>
            <a:pPr marL="448193" lvl="1" indent="0" defTabSz="913874">
              <a:spcBef>
                <a:spcPts val="0"/>
              </a:spcBef>
              <a:spcAft>
                <a:spcPts val="980"/>
              </a:spcAft>
              <a:buNone/>
              <a:defRPr/>
            </a:pPr>
            <a:r>
              <a:rPr lang="en-US" sz="1765" dirty="0">
                <a:solidFill>
                  <a:schemeClr val="bg1"/>
                </a:solidFill>
                <a:cs typeface="Segoe UI" panose="020B0502040204020203" pitchFamily="34" charset="0"/>
              </a:rPr>
              <a:t>Details about detected threats </a:t>
            </a:r>
            <a:br>
              <a:rPr lang="en-US" sz="1765" dirty="0">
                <a:solidFill>
                  <a:schemeClr val="bg1"/>
                </a:solidFill>
                <a:cs typeface="Segoe UI" panose="020B0502040204020203" pitchFamily="34" charset="0"/>
              </a:rPr>
            </a:br>
            <a:r>
              <a:rPr lang="en-US" sz="1765" dirty="0">
                <a:solidFill>
                  <a:schemeClr val="bg1"/>
                </a:solidFill>
                <a:cs typeface="Segoe UI" panose="020B0502040204020203" pitchFamily="34" charset="0"/>
              </a:rPr>
              <a:t>and recommendations</a:t>
            </a:r>
            <a:br>
              <a:rPr lang="en-US" sz="1765" dirty="0">
                <a:solidFill>
                  <a:schemeClr val="bg1"/>
                </a:solidFill>
                <a:cs typeface="Segoe UI" panose="020B0502040204020203" pitchFamily="34" charset="0"/>
              </a:rPr>
            </a:br>
            <a:endParaRPr lang="en-US" sz="1765" dirty="0">
              <a:solidFill>
                <a:schemeClr val="bg1"/>
              </a:solidFill>
              <a:cs typeface="Segoe UI" panose="020B0502040204020203" pitchFamily="34" charset="0"/>
            </a:endParaRPr>
          </a:p>
          <a:p>
            <a:pPr marL="0" lvl="1" indent="0" defTabSz="913874">
              <a:spcBef>
                <a:spcPts val="0"/>
              </a:spcBef>
              <a:spcAft>
                <a:spcPts val="980"/>
              </a:spcAft>
              <a:buNone/>
              <a:defRPr/>
            </a:pPr>
            <a:r>
              <a:rPr lang="en-US" sz="1765" b="1" kern="0" dirty="0">
                <a:solidFill>
                  <a:schemeClr val="bg1"/>
                </a:solidFill>
                <a:latin typeface="Segoe UI" panose="020B0502040204020203" pitchFamily="34" charset="0"/>
                <a:cs typeface="Segoe UI" panose="020B0502040204020203" pitchFamily="34" charset="0"/>
              </a:rPr>
              <a:t>Detect threats across the kill chain</a:t>
            </a:r>
          </a:p>
          <a:p>
            <a:pPr marL="448193" lvl="1" indent="0" defTabSz="913874">
              <a:spcBef>
                <a:spcPts val="0"/>
              </a:spcBef>
              <a:spcAft>
                <a:spcPts val="980"/>
              </a:spcAft>
              <a:buNone/>
              <a:defRPr/>
            </a:pPr>
            <a:r>
              <a:rPr lang="en-US" sz="1765" dirty="0">
                <a:solidFill>
                  <a:schemeClr val="bg1"/>
                </a:solidFill>
                <a:cs typeface="Segoe UI" panose="020B0502040204020203" pitchFamily="34" charset="0"/>
              </a:rPr>
              <a:t>Alerts that conform to kill </a:t>
            </a:r>
            <a:br>
              <a:rPr lang="en-US" sz="1765" dirty="0">
                <a:solidFill>
                  <a:schemeClr val="bg1"/>
                </a:solidFill>
                <a:cs typeface="Segoe UI" panose="020B0502040204020203" pitchFamily="34" charset="0"/>
              </a:rPr>
            </a:br>
            <a:r>
              <a:rPr lang="en-US" sz="1765" dirty="0">
                <a:solidFill>
                  <a:schemeClr val="bg1"/>
                </a:solidFill>
                <a:cs typeface="Segoe UI" panose="020B0502040204020203" pitchFamily="34" charset="0"/>
              </a:rPr>
              <a:t>chain patterns are fused into </a:t>
            </a:r>
            <a:br>
              <a:rPr lang="en-US" sz="1765" dirty="0">
                <a:solidFill>
                  <a:schemeClr val="bg1"/>
                </a:solidFill>
                <a:cs typeface="Segoe UI" panose="020B0502040204020203" pitchFamily="34" charset="0"/>
              </a:rPr>
            </a:br>
            <a:r>
              <a:rPr lang="en-US" sz="1765" dirty="0">
                <a:solidFill>
                  <a:schemeClr val="bg1"/>
                </a:solidFill>
                <a:cs typeface="Segoe UI" panose="020B0502040204020203" pitchFamily="34" charset="0"/>
              </a:rPr>
              <a:t>a single incident</a:t>
            </a:r>
          </a:p>
        </p:txBody>
      </p:sp>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a:xfrm>
            <a:off x="269241" y="289956"/>
            <a:ext cx="6094489" cy="1265718"/>
          </a:xfrm>
        </p:spPr>
        <p:txBody>
          <a:bodyPr>
            <a:normAutofit fontScale="90000"/>
          </a:bodyPr>
          <a:lstStyle/>
          <a:p>
            <a:r>
              <a:rPr lang="en-US" dirty="0"/>
              <a:t>Focus on the most critical threats </a:t>
            </a:r>
          </a:p>
        </p:txBody>
      </p:sp>
      <p:sp>
        <p:nvSpPr>
          <p:cNvPr id="25" name="Rectangle 24"/>
          <p:cNvSpPr/>
          <p:nvPr/>
        </p:nvSpPr>
        <p:spPr bwMode="auto">
          <a:xfrm>
            <a:off x="4762257" y="5787562"/>
            <a:ext cx="4426098" cy="164968"/>
          </a:xfrm>
          <a:prstGeom prst="rect">
            <a:avLst/>
          </a:prstGeom>
          <a:solidFill>
            <a:schemeClr val="accent1">
              <a:alpha val="22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p:nvGrpSpPr>
        <p:grpSpPr>
          <a:xfrm>
            <a:off x="11099330" y="321705"/>
            <a:ext cx="776189" cy="776902"/>
            <a:chOff x="9688334" y="2466549"/>
            <a:chExt cx="1397705" cy="1398989"/>
          </a:xfrm>
          <a:solidFill>
            <a:schemeClr val="accent1">
              <a:lumMod val="50000"/>
            </a:schemeClr>
          </a:solidFill>
        </p:grpSpPr>
        <p:sp>
          <p:nvSpPr>
            <p:cNvPr id="40" name="Freeform 14"/>
            <p:cNvSpPr>
              <a:spLocks/>
            </p:cNvSpPr>
            <p:nvPr/>
          </p:nvSpPr>
          <p:spPr bwMode="auto">
            <a:xfrm>
              <a:off x="10354458" y="2466549"/>
              <a:ext cx="639171" cy="627620"/>
            </a:xfrm>
            <a:custGeom>
              <a:avLst/>
              <a:gdLst>
                <a:gd name="T0" fmla="*/ 24 w 243"/>
                <a:gd name="T1" fmla="*/ 57 h 238"/>
                <a:gd name="T2" fmla="*/ 219 w 243"/>
                <a:gd name="T3" fmla="*/ 236 h 238"/>
                <a:gd name="T4" fmla="*/ 219 w 243"/>
                <a:gd name="T5" fmla="*/ 238 h 238"/>
                <a:gd name="T6" fmla="*/ 243 w 243"/>
                <a:gd name="T7" fmla="*/ 238 h 238"/>
                <a:gd name="T8" fmla="*/ 243 w 243"/>
                <a:gd name="T9" fmla="*/ 236 h 238"/>
                <a:gd name="T10" fmla="*/ 24 w 243"/>
                <a:gd name="T11" fmla="*/ 33 h 238"/>
                <a:gd name="T12" fmla="*/ 24 w 243"/>
                <a:gd name="T13" fmla="*/ 0 h 238"/>
                <a:gd name="T14" fmla="*/ 0 w 243"/>
                <a:gd name="T15" fmla="*/ 0 h 238"/>
                <a:gd name="T16" fmla="*/ 0 w 243"/>
                <a:gd name="T17" fmla="*/ 91 h 238"/>
                <a:gd name="T18" fmla="*/ 24 w 243"/>
                <a:gd name="T19" fmla="*/ 91 h 238"/>
                <a:gd name="T20" fmla="*/ 24 w 243"/>
                <a:gd name="T21" fmla="*/ 5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238">
                  <a:moveTo>
                    <a:pt x="24" y="57"/>
                  </a:moveTo>
                  <a:cubicBezTo>
                    <a:pt x="123" y="63"/>
                    <a:pt x="205" y="138"/>
                    <a:pt x="219" y="236"/>
                  </a:cubicBezTo>
                  <a:cubicBezTo>
                    <a:pt x="219" y="238"/>
                    <a:pt x="219" y="238"/>
                    <a:pt x="219" y="238"/>
                  </a:cubicBezTo>
                  <a:cubicBezTo>
                    <a:pt x="243" y="238"/>
                    <a:pt x="243" y="238"/>
                    <a:pt x="243" y="238"/>
                  </a:cubicBezTo>
                  <a:cubicBezTo>
                    <a:pt x="243" y="236"/>
                    <a:pt x="243" y="236"/>
                    <a:pt x="243" y="236"/>
                  </a:cubicBezTo>
                  <a:cubicBezTo>
                    <a:pt x="229" y="124"/>
                    <a:pt x="137" y="39"/>
                    <a:pt x="24" y="33"/>
                  </a:cubicBezTo>
                  <a:cubicBezTo>
                    <a:pt x="24" y="0"/>
                    <a:pt x="24" y="0"/>
                    <a:pt x="24" y="0"/>
                  </a:cubicBezTo>
                  <a:cubicBezTo>
                    <a:pt x="0" y="0"/>
                    <a:pt x="0" y="0"/>
                    <a:pt x="0" y="0"/>
                  </a:cubicBezTo>
                  <a:cubicBezTo>
                    <a:pt x="0" y="91"/>
                    <a:pt x="0" y="91"/>
                    <a:pt x="0" y="91"/>
                  </a:cubicBezTo>
                  <a:cubicBezTo>
                    <a:pt x="24" y="91"/>
                    <a:pt x="24" y="91"/>
                    <a:pt x="24" y="91"/>
                  </a:cubicBezTo>
                  <a:lnTo>
                    <a:pt x="2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1" name="Freeform 15"/>
            <p:cNvSpPr>
              <a:spLocks/>
            </p:cNvSpPr>
            <p:nvPr/>
          </p:nvSpPr>
          <p:spPr bwMode="auto">
            <a:xfrm>
              <a:off x="9780744" y="3241769"/>
              <a:ext cx="636604" cy="623769"/>
            </a:xfrm>
            <a:custGeom>
              <a:avLst/>
              <a:gdLst>
                <a:gd name="T0" fmla="*/ 218 w 242"/>
                <a:gd name="T1" fmla="*/ 180 h 237"/>
                <a:gd name="T2" fmla="*/ 24 w 242"/>
                <a:gd name="T3" fmla="*/ 1 h 237"/>
                <a:gd name="T4" fmla="*/ 24 w 242"/>
                <a:gd name="T5" fmla="*/ 0 h 237"/>
                <a:gd name="T6" fmla="*/ 0 w 242"/>
                <a:gd name="T7" fmla="*/ 0 h 237"/>
                <a:gd name="T8" fmla="*/ 0 w 242"/>
                <a:gd name="T9" fmla="*/ 2 h 237"/>
                <a:gd name="T10" fmla="*/ 218 w 242"/>
                <a:gd name="T11" fmla="*/ 204 h 237"/>
                <a:gd name="T12" fmla="*/ 218 w 242"/>
                <a:gd name="T13" fmla="*/ 237 h 237"/>
                <a:gd name="T14" fmla="*/ 242 w 242"/>
                <a:gd name="T15" fmla="*/ 237 h 237"/>
                <a:gd name="T16" fmla="*/ 242 w 242"/>
                <a:gd name="T17" fmla="*/ 146 h 237"/>
                <a:gd name="T18" fmla="*/ 218 w 242"/>
                <a:gd name="T19" fmla="*/ 146 h 237"/>
                <a:gd name="T20" fmla="*/ 218 w 242"/>
                <a:gd name="T21" fmla="*/ 18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237">
                  <a:moveTo>
                    <a:pt x="218" y="180"/>
                  </a:moveTo>
                  <a:cubicBezTo>
                    <a:pt x="120" y="174"/>
                    <a:pt x="38" y="99"/>
                    <a:pt x="24" y="1"/>
                  </a:cubicBezTo>
                  <a:cubicBezTo>
                    <a:pt x="24" y="0"/>
                    <a:pt x="24" y="0"/>
                    <a:pt x="24" y="0"/>
                  </a:cubicBezTo>
                  <a:cubicBezTo>
                    <a:pt x="0" y="0"/>
                    <a:pt x="0" y="0"/>
                    <a:pt x="0" y="0"/>
                  </a:cubicBezTo>
                  <a:cubicBezTo>
                    <a:pt x="0" y="2"/>
                    <a:pt x="0" y="2"/>
                    <a:pt x="0" y="2"/>
                  </a:cubicBezTo>
                  <a:cubicBezTo>
                    <a:pt x="15" y="113"/>
                    <a:pt x="106" y="198"/>
                    <a:pt x="218" y="204"/>
                  </a:cubicBezTo>
                  <a:cubicBezTo>
                    <a:pt x="218" y="237"/>
                    <a:pt x="218" y="237"/>
                    <a:pt x="218" y="237"/>
                  </a:cubicBezTo>
                  <a:cubicBezTo>
                    <a:pt x="242" y="237"/>
                    <a:pt x="242" y="237"/>
                    <a:pt x="242" y="237"/>
                  </a:cubicBezTo>
                  <a:cubicBezTo>
                    <a:pt x="242" y="146"/>
                    <a:pt x="242" y="146"/>
                    <a:pt x="242" y="146"/>
                  </a:cubicBezTo>
                  <a:cubicBezTo>
                    <a:pt x="218" y="146"/>
                    <a:pt x="218" y="146"/>
                    <a:pt x="218" y="146"/>
                  </a:cubicBezTo>
                  <a:lnTo>
                    <a:pt x="218"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2" name="Freeform 16"/>
            <p:cNvSpPr>
              <a:spLocks/>
            </p:cNvSpPr>
            <p:nvPr/>
          </p:nvSpPr>
          <p:spPr bwMode="auto">
            <a:xfrm>
              <a:off x="10459703" y="3135240"/>
              <a:ext cx="626336" cy="637888"/>
            </a:xfrm>
            <a:custGeom>
              <a:avLst/>
              <a:gdLst>
                <a:gd name="T0" fmla="*/ 147 w 238"/>
                <a:gd name="T1" fmla="*/ 0 h 242"/>
                <a:gd name="T2" fmla="*/ 147 w 238"/>
                <a:gd name="T3" fmla="*/ 24 h 242"/>
                <a:gd name="T4" fmla="*/ 181 w 238"/>
                <a:gd name="T5" fmla="*/ 24 h 242"/>
                <a:gd name="T6" fmla="*/ 2 w 238"/>
                <a:gd name="T7" fmla="*/ 218 h 242"/>
                <a:gd name="T8" fmla="*/ 0 w 238"/>
                <a:gd name="T9" fmla="*/ 218 h 242"/>
                <a:gd name="T10" fmla="*/ 0 w 238"/>
                <a:gd name="T11" fmla="*/ 242 h 242"/>
                <a:gd name="T12" fmla="*/ 3 w 238"/>
                <a:gd name="T13" fmla="*/ 242 h 242"/>
                <a:gd name="T14" fmla="*/ 205 w 238"/>
                <a:gd name="T15" fmla="*/ 24 h 242"/>
                <a:gd name="T16" fmla="*/ 238 w 238"/>
                <a:gd name="T17" fmla="*/ 24 h 242"/>
                <a:gd name="T18" fmla="*/ 238 w 238"/>
                <a:gd name="T19" fmla="*/ 0 h 242"/>
                <a:gd name="T20" fmla="*/ 147 w 238"/>
                <a:gd name="T21"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42">
                  <a:moveTo>
                    <a:pt x="147" y="0"/>
                  </a:moveTo>
                  <a:cubicBezTo>
                    <a:pt x="147" y="24"/>
                    <a:pt x="147" y="24"/>
                    <a:pt x="147" y="24"/>
                  </a:cubicBezTo>
                  <a:cubicBezTo>
                    <a:pt x="181" y="24"/>
                    <a:pt x="181" y="24"/>
                    <a:pt x="181" y="24"/>
                  </a:cubicBezTo>
                  <a:cubicBezTo>
                    <a:pt x="175" y="122"/>
                    <a:pt x="100" y="204"/>
                    <a:pt x="2" y="218"/>
                  </a:cubicBezTo>
                  <a:cubicBezTo>
                    <a:pt x="0" y="218"/>
                    <a:pt x="0" y="218"/>
                    <a:pt x="0" y="218"/>
                  </a:cubicBezTo>
                  <a:cubicBezTo>
                    <a:pt x="0" y="242"/>
                    <a:pt x="0" y="242"/>
                    <a:pt x="0" y="242"/>
                  </a:cubicBezTo>
                  <a:cubicBezTo>
                    <a:pt x="3" y="242"/>
                    <a:pt x="3" y="242"/>
                    <a:pt x="3" y="242"/>
                  </a:cubicBezTo>
                  <a:cubicBezTo>
                    <a:pt x="114" y="227"/>
                    <a:pt x="199" y="136"/>
                    <a:pt x="205" y="24"/>
                  </a:cubicBezTo>
                  <a:cubicBezTo>
                    <a:pt x="238" y="24"/>
                    <a:pt x="238" y="24"/>
                    <a:pt x="238" y="24"/>
                  </a:cubicBezTo>
                  <a:cubicBezTo>
                    <a:pt x="238" y="0"/>
                    <a:pt x="238" y="0"/>
                    <a:pt x="238" y="0"/>
                  </a:cubicBez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3" name="Freeform 17"/>
            <p:cNvSpPr>
              <a:spLocks/>
            </p:cNvSpPr>
            <p:nvPr/>
          </p:nvSpPr>
          <p:spPr bwMode="auto">
            <a:xfrm>
              <a:off x="9688334" y="2558959"/>
              <a:ext cx="623769" cy="640455"/>
            </a:xfrm>
            <a:custGeom>
              <a:avLst/>
              <a:gdLst>
                <a:gd name="T0" fmla="*/ 91 w 237"/>
                <a:gd name="T1" fmla="*/ 219 h 243"/>
                <a:gd name="T2" fmla="*/ 57 w 237"/>
                <a:gd name="T3" fmla="*/ 219 h 243"/>
                <a:gd name="T4" fmla="*/ 236 w 237"/>
                <a:gd name="T5" fmla="*/ 24 h 243"/>
                <a:gd name="T6" fmla="*/ 237 w 237"/>
                <a:gd name="T7" fmla="*/ 24 h 243"/>
                <a:gd name="T8" fmla="*/ 237 w 237"/>
                <a:gd name="T9" fmla="*/ 0 h 243"/>
                <a:gd name="T10" fmla="*/ 235 w 237"/>
                <a:gd name="T11" fmla="*/ 0 h 243"/>
                <a:gd name="T12" fmla="*/ 33 w 237"/>
                <a:gd name="T13" fmla="*/ 219 h 243"/>
                <a:gd name="T14" fmla="*/ 0 w 237"/>
                <a:gd name="T15" fmla="*/ 219 h 243"/>
                <a:gd name="T16" fmla="*/ 0 w 237"/>
                <a:gd name="T17" fmla="*/ 243 h 243"/>
                <a:gd name="T18" fmla="*/ 91 w 237"/>
                <a:gd name="T19" fmla="*/ 243 h 243"/>
                <a:gd name="T20" fmla="*/ 91 w 237"/>
                <a:gd name="T21" fmla="*/ 21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243">
                  <a:moveTo>
                    <a:pt x="91" y="219"/>
                  </a:moveTo>
                  <a:cubicBezTo>
                    <a:pt x="57" y="219"/>
                    <a:pt x="57" y="219"/>
                    <a:pt x="57" y="219"/>
                  </a:cubicBezTo>
                  <a:cubicBezTo>
                    <a:pt x="63" y="120"/>
                    <a:pt x="138" y="38"/>
                    <a:pt x="236" y="24"/>
                  </a:cubicBezTo>
                  <a:cubicBezTo>
                    <a:pt x="237" y="24"/>
                    <a:pt x="237" y="24"/>
                    <a:pt x="237" y="24"/>
                  </a:cubicBezTo>
                  <a:cubicBezTo>
                    <a:pt x="237" y="0"/>
                    <a:pt x="237" y="0"/>
                    <a:pt x="237" y="0"/>
                  </a:cubicBezTo>
                  <a:cubicBezTo>
                    <a:pt x="235" y="0"/>
                    <a:pt x="235" y="0"/>
                    <a:pt x="235" y="0"/>
                  </a:cubicBezTo>
                  <a:cubicBezTo>
                    <a:pt x="124" y="15"/>
                    <a:pt x="39" y="106"/>
                    <a:pt x="33" y="219"/>
                  </a:cubicBezTo>
                  <a:cubicBezTo>
                    <a:pt x="0" y="219"/>
                    <a:pt x="0" y="219"/>
                    <a:pt x="0" y="219"/>
                  </a:cubicBezTo>
                  <a:cubicBezTo>
                    <a:pt x="0" y="243"/>
                    <a:pt x="0" y="243"/>
                    <a:pt x="0" y="243"/>
                  </a:cubicBezTo>
                  <a:cubicBezTo>
                    <a:pt x="91" y="243"/>
                    <a:pt x="91" y="243"/>
                    <a:pt x="91" y="243"/>
                  </a:cubicBezTo>
                  <a:lnTo>
                    <a:pt x="91"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4" name="Freeform 18"/>
            <p:cNvSpPr>
              <a:spLocks noEditPoints="1"/>
            </p:cNvSpPr>
            <p:nvPr/>
          </p:nvSpPr>
          <p:spPr bwMode="auto">
            <a:xfrm>
              <a:off x="10038723" y="2774583"/>
              <a:ext cx="723880" cy="432532"/>
            </a:xfrm>
            <a:custGeom>
              <a:avLst/>
              <a:gdLst>
                <a:gd name="T0" fmla="*/ 0 w 275"/>
                <a:gd name="T1" fmla="*/ 68 h 164"/>
                <a:gd name="T2" fmla="*/ 68 w 275"/>
                <a:gd name="T3" fmla="*/ 136 h 164"/>
                <a:gd name="T4" fmla="*/ 77 w 275"/>
                <a:gd name="T5" fmla="*/ 136 h 164"/>
                <a:gd name="T6" fmla="*/ 85 w 275"/>
                <a:gd name="T7" fmla="*/ 164 h 164"/>
                <a:gd name="T8" fmla="*/ 108 w 275"/>
                <a:gd name="T9" fmla="*/ 157 h 164"/>
                <a:gd name="T10" fmla="*/ 99 w 275"/>
                <a:gd name="T11" fmla="*/ 129 h 164"/>
                <a:gd name="T12" fmla="*/ 132 w 275"/>
                <a:gd name="T13" fmla="*/ 93 h 164"/>
                <a:gd name="T14" fmla="*/ 178 w 275"/>
                <a:gd name="T15" fmla="*/ 109 h 164"/>
                <a:gd name="T16" fmla="*/ 178 w 275"/>
                <a:gd name="T17" fmla="*/ 114 h 164"/>
                <a:gd name="T18" fmla="*/ 226 w 275"/>
                <a:gd name="T19" fmla="*/ 163 h 164"/>
                <a:gd name="T20" fmla="*/ 275 w 275"/>
                <a:gd name="T21" fmla="*/ 114 h 164"/>
                <a:gd name="T22" fmla="*/ 226 w 275"/>
                <a:gd name="T23" fmla="*/ 65 h 164"/>
                <a:gd name="T24" fmla="*/ 186 w 275"/>
                <a:gd name="T25" fmla="*/ 86 h 164"/>
                <a:gd name="T26" fmla="*/ 136 w 275"/>
                <a:gd name="T27" fmla="*/ 69 h 164"/>
                <a:gd name="T28" fmla="*/ 136 w 275"/>
                <a:gd name="T29" fmla="*/ 68 h 164"/>
                <a:gd name="T30" fmla="*/ 68 w 275"/>
                <a:gd name="T31" fmla="*/ 0 h 164"/>
                <a:gd name="T32" fmla="*/ 0 w 275"/>
                <a:gd name="T33" fmla="*/ 68 h 164"/>
                <a:gd name="T34" fmla="*/ 68 w 275"/>
                <a:gd name="T35" fmla="*/ 24 h 164"/>
                <a:gd name="T36" fmla="*/ 112 w 275"/>
                <a:gd name="T37" fmla="*/ 68 h 164"/>
                <a:gd name="T38" fmla="*/ 68 w 275"/>
                <a:gd name="T39" fmla="*/ 112 h 164"/>
                <a:gd name="T40" fmla="*/ 24 w 275"/>
                <a:gd name="T41" fmla="*/ 68 h 164"/>
                <a:gd name="T42" fmla="*/ 68 w 275"/>
                <a:gd name="T43" fmla="*/ 24 h 164"/>
                <a:gd name="T44" fmla="*/ 226 w 275"/>
                <a:gd name="T45" fmla="*/ 89 h 164"/>
                <a:gd name="T46" fmla="*/ 251 w 275"/>
                <a:gd name="T47" fmla="*/ 114 h 164"/>
                <a:gd name="T48" fmla="*/ 226 w 275"/>
                <a:gd name="T49" fmla="*/ 139 h 164"/>
                <a:gd name="T50" fmla="*/ 202 w 275"/>
                <a:gd name="T51" fmla="*/ 114 h 164"/>
                <a:gd name="T52" fmla="*/ 226 w 275"/>
                <a:gd name="T53" fmla="*/ 8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5" h="164">
                  <a:moveTo>
                    <a:pt x="0" y="68"/>
                  </a:moveTo>
                  <a:cubicBezTo>
                    <a:pt x="0" y="106"/>
                    <a:pt x="31" y="136"/>
                    <a:pt x="68" y="136"/>
                  </a:cubicBezTo>
                  <a:cubicBezTo>
                    <a:pt x="71" y="136"/>
                    <a:pt x="73" y="136"/>
                    <a:pt x="77" y="136"/>
                  </a:cubicBezTo>
                  <a:cubicBezTo>
                    <a:pt x="85" y="164"/>
                    <a:pt x="85" y="164"/>
                    <a:pt x="85" y="164"/>
                  </a:cubicBezTo>
                  <a:cubicBezTo>
                    <a:pt x="108" y="157"/>
                    <a:pt x="108" y="157"/>
                    <a:pt x="108" y="157"/>
                  </a:cubicBezTo>
                  <a:cubicBezTo>
                    <a:pt x="99" y="129"/>
                    <a:pt x="99" y="129"/>
                    <a:pt x="99" y="129"/>
                  </a:cubicBezTo>
                  <a:cubicBezTo>
                    <a:pt x="114" y="121"/>
                    <a:pt x="126" y="108"/>
                    <a:pt x="132" y="93"/>
                  </a:cubicBezTo>
                  <a:cubicBezTo>
                    <a:pt x="178" y="109"/>
                    <a:pt x="178" y="109"/>
                    <a:pt x="178" y="109"/>
                  </a:cubicBezTo>
                  <a:cubicBezTo>
                    <a:pt x="178" y="111"/>
                    <a:pt x="178" y="113"/>
                    <a:pt x="178" y="114"/>
                  </a:cubicBezTo>
                  <a:cubicBezTo>
                    <a:pt x="178" y="141"/>
                    <a:pt x="199" y="163"/>
                    <a:pt x="226" y="163"/>
                  </a:cubicBezTo>
                  <a:cubicBezTo>
                    <a:pt x="253" y="163"/>
                    <a:pt x="275" y="141"/>
                    <a:pt x="275" y="114"/>
                  </a:cubicBezTo>
                  <a:cubicBezTo>
                    <a:pt x="275" y="87"/>
                    <a:pt x="253" y="65"/>
                    <a:pt x="226" y="65"/>
                  </a:cubicBezTo>
                  <a:cubicBezTo>
                    <a:pt x="210" y="65"/>
                    <a:pt x="196" y="73"/>
                    <a:pt x="186" y="86"/>
                  </a:cubicBezTo>
                  <a:cubicBezTo>
                    <a:pt x="136" y="69"/>
                    <a:pt x="136" y="69"/>
                    <a:pt x="136" y="69"/>
                  </a:cubicBezTo>
                  <a:cubicBezTo>
                    <a:pt x="136" y="69"/>
                    <a:pt x="136" y="69"/>
                    <a:pt x="136" y="68"/>
                  </a:cubicBezTo>
                  <a:cubicBezTo>
                    <a:pt x="136" y="31"/>
                    <a:pt x="106" y="0"/>
                    <a:pt x="68" y="0"/>
                  </a:cubicBezTo>
                  <a:cubicBezTo>
                    <a:pt x="31" y="0"/>
                    <a:pt x="0" y="31"/>
                    <a:pt x="0" y="68"/>
                  </a:cubicBezTo>
                  <a:close/>
                  <a:moveTo>
                    <a:pt x="68" y="24"/>
                  </a:moveTo>
                  <a:cubicBezTo>
                    <a:pt x="93" y="24"/>
                    <a:pt x="112" y="44"/>
                    <a:pt x="112" y="68"/>
                  </a:cubicBezTo>
                  <a:cubicBezTo>
                    <a:pt x="112" y="93"/>
                    <a:pt x="93" y="112"/>
                    <a:pt x="68" y="112"/>
                  </a:cubicBezTo>
                  <a:cubicBezTo>
                    <a:pt x="44" y="112"/>
                    <a:pt x="24" y="93"/>
                    <a:pt x="24" y="68"/>
                  </a:cubicBezTo>
                  <a:cubicBezTo>
                    <a:pt x="24" y="44"/>
                    <a:pt x="44" y="24"/>
                    <a:pt x="68" y="24"/>
                  </a:cubicBezTo>
                  <a:close/>
                  <a:moveTo>
                    <a:pt x="226" y="89"/>
                  </a:moveTo>
                  <a:cubicBezTo>
                    <a:pt x="240" y="89"/>
                    <a:pt x="251" y="101"/>
                    <a:pt x="251" y="114"/>
                  </a:cubicBezTo>
                  <a:cubicBezTo>
                    <a:pt x="251" y="128"/>
                    <a:pt x="240" y="139"/>
                    <a:pt x="226" y="139"/>
                  </a:cubicBezTo>
                  <a:cubicBezTo>
                    <a:pt x="213" y="139"/>
                    <a:pt x="202" y="128"/>
                    <a:pt x="202" y="114"/>
                  </a:cubicBezTo>
                  <a:cubicBezTo>
                    <a:pt x="202" y="101"/>
                    <a:pt x="213" y="89"/>
                    <a:pt x="22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5" name="Freeform 19"/>
            <p:cNvSpPr>
              <a:spLocks noEditPoints="1"/>
            </p:cNvSpPr>
            <p:nvPr/>
          </p:nvSpPr>
          <p:spPr bwMode="auto">
            <a:xfrm>
              <a:off x="10186323" y="3172461"/>
              <a:ext cx="365790" cy="382476"/>
            </a:xfrm>
            <a:custGeom>
              <a:avLst/>
              <a:gdLst>
                <a:gd name="T0" fmla="*/ 121 w 139"/>
                <a:gd name="T1" fmla="*/ 0 h 145"/>
                <a:gd name="T2" fmla="*/ 96 w 139"/>
                <a:gd name="T3" fmla="*/ 27 h 145"/>
                <a:gd name="T4" fmla="*/ 63 w 139"/>
                <a:gd name="T5" fmla="*/ 18 h 145"/>
                <a:gd name="T6" fmla="*/ 0 w 139"/>
                <a:gd name="T7" fmla="*/ 81 h 145"/>
                <a:gd name="T8" fmla="*/ 63 w 139"/>
                <a:gd name="T9" fmla="*/ 145 h 145"/>
                <a:gd name="T10" fmla="*/ 126 w 139"/>
                <a:gd name="T11" fmla="*/ 81 h 145"/>
                <a:gd name="T12" fmla="*/ 114 w 139"/>
                <a:gd name="T13" fmla="*/ 44 h 145"/>
                <a:gd name="T14" fmla="*/ 139 w 139"/>
                <a:gd name="T15" fmla="*/ 16 h 145"/>
                <a:gd name="T16" fmla="*/ 121 w 139"/>
                <a:gd name="T17" fmla="*/ 0 h 145"/>
                <a:gd name="T18" fmla="*/ 63 w 139"/>
                <a:gd name="T19" fmla="*/ 121 h 145"/>
                <a:gd name="T20" fmla="*/ 24 w 139"/>
                <a:gd name="T21" fmla="*/ 81 h 145"/>
                <a:gd name="T22" fmla="*/ 63 w 139"/>
                <a:gd name="T23" fmla="*/ 42 h 145"/>
                <a:gd name="T24" fmla="*/ 102 w 139"/>
                <a:gd name="T25" fmla="*/ 81 h 145"/>
                <a:gd name="T26" fmla="*/ 63 w 139"/>
                <a:gd name="T27" fmla="*/ 12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45">
                  <a:moveTo>
                    <a:pt x="121" y="0"/>
                  </a:moveTo>
                  <a:cubicBezTo>
                    <a:pt x="96" y="27"/>
                    <a:pt x="96" y="27"/>
                    <a:pt x="96" y="27"/>
                  </a:cubicBezTo>
                  <a:cubicBezTo>
                    <a:pt x="86" y="21"/>
                    <a:pt x="75" y="18"/>
                    <a:pt x="63" y="18"/>
                  </a:cubicBezTo>
                  <a:cubicBezTo>
                    <a:pt x="28" y="18"/>
                    <a:pt x="0" y="46"/>
                    <a:pt x="0" y="81"/>
                  </a:cubicBezTo>
                  <a:cubicBezTo>
                    <a:pt x="0" y="116"/>
                    <a:pt x="28" y="145"/>
                    <a:pt x="63" y="145"/>
                  </a:cubicBezTo>
                  <a:cubicBezTo>
                    <a:pt x="98" y="145"/>
                    <a:pt x="126" y="116"/>
                    <a:pt x="126" y="81"/>
                  </a:cubicBezTo>
                  <a:cubicBezTo>
                    <a:pt x="126" y="68"/>
                    <a:pt x="122" y="55"/>
                    <a:pt x="114" y="44"/>
                  </a:cubicBezTo>
                  <a:cubicBezTo>
                    <a:pt x="139" y="16"/>
                    <a:pt x="139" y="16"/>
                    <a:pt x="139" y="16"/>
                  </a:cubicBezTo>
                  <a:lnTo>
                    <a:pt x="121" y="0"/>
                  </a:lnTo>
                  <a:close/>
                  <a:moveTo>
                    <a:pt x="63" y="121"/>
                  </a:moveTo>
                  <a:cubicBezTo>
                    <a:pt x="41" y="121"/>
                    <a:pt x="24" y="103"/>
                    <a:pt x="24" y="81"/>
                  </a:cubicBezTo>
                  <a:cubicBezTo>
                    <a:pt x="24" y="60"/>
                    <a:pt x="41" y="42"/>
                    <a:pt x="63" y="42"/>
                  </a:cubicBezTo>
                  <a:cubicBezTo>
                    <a:pt x="85" y="42"/>
                    <a:pt x="102" y="60"/>
                    <a:pt x="102" y="81"/>
                  </a:cubicBezTo>
                  <a:cubicBezTo>
                    <a:pt x="102" y="103"/>
                    <a:pt x="85" y="121"/>
                    <a:pt x="63"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sp>
        <p:nvSpPr>
          <p:cNvPr id="20" name="L-Shape 19"/>
          <p:cNvSpPr/>
          <p:nvPr/>
        </p:nvSpPr>
        <p:spPr bwMode="auto">
          <a:xfrm rot="13500000">
            <a:off x="565718" y="3151626"/>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Aft>
                <a:spcPts val="98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3" name="L-Shape 22"/>
          <p:cNvSpPr/>
          <p:nvPr/>
        </p:nvSpPr>
        <p:spPr bwMode="auto">
          <a:xfrm rot="13500000">
            <a:off x="565718" y="4364330"/>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Aft>
                <a:spcPts val="98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1" name="Picture 20">
            <a:extLst>
              <a:ext uri="{FF2B5EF4-FFF2-40B4-BE49-F238E27FC236}">
                <a16:creationId xmlns:a16="http://schemas.microsoft.com/office/drawing/2014/main" id="{22FFB9BF-5BA9-4720-B9DF-952E279236B2}"/>
              </a:ext>
            </a:extLst>
          </p:cNvPr>
          <p:cNvPicPr>
            <a:picLocks noChangeAspect="1"/>
          </p:cNvPicPr>
          <p:nvPr/>
        </p:nvPicPr>
        <p:blipFill rotWithShape="1">
          <a:blip r:embed="rId3"/>
          <a:srcRect b="9112"/>
          <a:stretch/>
        </p:blipFill>
        <p:spPr>
          <a:xfrm>
            <a:off x="4523574" y="2114455"/>
            <a:ext cx="7182360" cy="4055545"/>
          </a:xfrm>
          <a:prstGeom prst="rect">
            <a:avLst/>
          </a:prstGeom>
        </p:spPr>
      </p:pic>
    </p:spTree>
    <p:extLst>
      <p:ext uri="{BB962C8B-B14F-4D97-AF65-F5344CB8AC3E}">
        <p14:creationId xmlns:p14="http://schemas.microsoft.com/office/powerpoint/2010/main" val="422978963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a:xfrm>
            <a:off x="269241" y="289957"/>
            <a:ext cx="6389916" cy="1388489"/>
          </a:xfrm>
        </p:spPr>
        <p:txBody>
          <a:bodyPr>
            <a:normAutofit fontScale="90000"/>
          </a:bodyPr>
          <a:lstStyle/>
          <a:p>
            <a:r>
              <a:rPr lang="en-US" dirty="0"/>
              <a:t>Gain valuable insights about attackers</a:t>
            </a:r>
          </a:p>
        </p:txBody>
      </p:sp>
      <p:sp>
        <p:nvSpPr>
          <p:cNvPr id="45" name="Text Placeholder 12"/>
          <p:cNvSpPr txBox="1">
            <a:spLocks/>
          </p:cNvSpPr>
          <p:nvPr/>
        </p:nvSpPr>
        <p:spPr>
          <a:xfrm>
            <a:off x="269241" y="2626516"/>
            <a:ext cx="3729099" cy="3510921"/>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874">
              <a:spcBef>
                <a:spcPts val="0"/>
              </a:spcBef>
              <a:spcAft>
                <a:spcPts val="980"/>
              </a:spcAft>
              <a:buNone/>
              <a:defRPr/>
            </a:pPr>
            <a:r>
              <a:rPr lang="en-US" sz="1765" b="1" kern="0" dirty="0">
                <a:solidFill>
                  <a:schemeClr val="bg1"/>
                </a:solidFill>
                <a:latin typeface="Segoe UI" panose="020B0502040204020203" pitchFamily="34" charset="0"/>
                <a:cs typeface="Segoe UI" panose="020B0502040204020203" pitchFamily="34" charset="0"/>
              </a:rPr>
              <a:t>Visualize source of attacks with interactive map</a:t>
            </a:r>
          </a:p>
          <a:p>
            <a:pPr marL="448193" indent="0">
              <a:spcBef>
                <a:spcPts val="0"/>
              </a:spcBef>
              <a:spcAft>
                <a:spcPts val="980"/>
              </a:spcAft>
              <a:buNone/>
            </a:pPr>
            <a:r>
              <a:rPr lang="en-US" sz="1765" dirty="0">
                <a:solidFill>
                  <a:schemeClr val="bg1"/>
                </a:solidFill>
                <a:latin typeface="+mn-lt"/>
                <a:ea typeface="Calibri" panose="020F0502020204030204" pitchFamily="34" charset="0"/>
                <a:cs typeface="Segoe UI" panose="020B0502040204020203" pitchFamily="34" charset="0"/>
              </a:rPr>
              <a:t>Analyzes data from your computers and firewalls logs</a:t>
            </a:r>
          </a:p>
          <a:p>
            <a:pPr marL="0" indent="0">
              <a:spcBef>
                <a:spcPts val="0"/>
              </a:spcBef>
              <a:spcAft>
                <a:spcPts val="980"/>
              </a:spcAft>
              <a:buNone/>
            </a:pPr>
            <a:br>
              <a:rPr lang="en-US" sz="1765" b="1" kern="0" dirty="0">
                <a:solidFill>
                  <a:schemeClr val="bg1"/>
                </a:solidFill>
                <a:latin typeface="Segoe UI" panose="020B0502040204020203" pitchFamily="34" charset="0"/>
                <a:cs typeface="Segoe UI" panose="020B0502040204020203" pitchFamily="34" charset="0"/>
              </a:rPr>
            </a:br>
            <a:r>
              <a:rPr lang="en-US" sz="1765" b="1" kern="0" dirty="0">
                <a:solidFill>
                  <a:schemeClr val="bg1"/>
                </a:solidFill>
                <a:latin typeface="Segoe UI" panose="020B0502040204020203" pitchFamily="34" charset="0"/>
                <a:cs typeface="Segoe UI" panose="020B0502040204020203" pitchFamily="34" charset="0"/>
              </a:rPr>
              <a:t>Gain insights through threat reports</a:t>
            </a:r>
          </a:p>
          <a:p>
            <a:pPr marL="448193" indent="0">
              <a:spcBef>
                <a:spcPts val="0"/>
              </a:spcBef>
              <a:spcAft>
                <a:spcPts val="980"/>
              </a:spcAft>
              <a:buNone/>
            </a:pPr>
            <a:r>
              <a:rPr lang="en-US" sz="1765" dirty="0">
                <a:solidFill>
                  <a:schemeClr val="bg1"/>
                </a:solidFill>
                <a:latin typeface="+mn-lt"/>
                <a:ea typeface="Calibri" panose="020F0502020204030204" pitchFamily="34" charset="0"/>
                <a:cs typeface="Segoe UI" panose="020B0502040204020203" pitchFamily="34" charset="0"/>
              </a:rPr>
              <a:t>Attacker’s known objectives, tactics, and techniques</a:t>
            </a:r>
          </a:p>
          <a:p>
            <a:pPr marL="0" indent="0">
              <a:spcBef>
                <a:spcPts val="0"/>
              </a:spcBef>
              <a:spcAft>
                <a:spcPts val="980"/>
              </a:spcAft>
              <a:buNone/>
            </a:pPr>
            <a:endParaRPr lang="en-US" sz="1765" b="1" kern="0" dirty="0">
              <a:solidFill>
                <a:schemeClr val="bg1"/>
              </a:solidFill>
              <a:latin typeface="Segoe UI" panose="020B0502040204020203" pitchFamily="34" charset="0"/>
              <a:cs typeface="Segoe UI" panose="020B0502040204020203" pitchFamily="34" charset="0"/>
            </a:endParaRPr>
          </a:p>
          <a:p>
            <a:pPr marL="448193" indent="0">
              <a:spcBef>
                <a:spcPts val="0"/>
              </a:spcBef>
              <a:spcAft>
                <a:spcPts val="980"/>
              </a:spcAft>
              <a:buNone/>
            </a:pPr>
            <a:endParaRPr lang="en-US" sz="1765" dirty="0">
              <a:solidFill>
                <a:schemeClr val="bg1"/>
              </a:solidFill>
              <a:latin typeface="+mn-lt"/>
              <a:ea typeface="Calibri" panose="020F0502020204030204" pitchFamily="34" charset="0"/>
              <a:cs typeface="Segoe UI" panose="020B0502040204020203" pitchFamily="34" charset="0"/>
            </a:endParaRPr>
          </a:p>
        </p:txBody>
      </p:sp>
      <p:sp>
        <p:nvSpPr>
          <p:cNvPr id="46" name="L-Shape 45"/>
          <p:cNvSpPr/>
          <p:nvPr/>
        </p:nvSpPr>
        <p:spPr bwMode="auto">
          <a:xfrm rot="13500000">
            <a:off x="566136" y="3395863"/>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ts val="588"/>
              </a:spcBef>
              <a:spcAft>
                <a:spcPts val="588"/>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p:cNvGrpSpPr/>
          <p:nvPr/>
        </p:nvGrpSpPr>
        <p:grpSpPr>
          <a:xfrm>
            <a:off x="11099330" y="321705"/>
            <a:ext cx="776189" cy="776902"/>
            <a:chOff x="9688334" y="2466549"/>
            <a:chExt cx="1397705" cy="1398989"/>
          </a:xfrm>
          <a:solidFill>
            <a:schemeClr val="accent1">
              <a:lumMod val="50000"/>
            </a:schemeClr>
          </a:solidFill>
        </p:grpSpPr>
        <p:sp>
          <p:nvSpPr>
            <p:cNvPr id="49" name="Freeform 14"/>
            <p:cNvSpPr>
              <a:spLocks/>
            </p:cNvSpPr>
            <p:nvPr/>
          </p:nvSpPr>
          <p:spPr bwMode="auto">
            <a:xfrm>
              <a:off x="10354458" y="2466549"/>
              <a:ext cx="639171" cy="627620"/>
            </a:xfrm>
            <a:custGeom>
              <a:avLst/>
              <a:gdLst>
                <a:gd name="T0" fmla="*/ 24 w 243"/>
                <a:gd name="T1" fmla="*/ 57 h 238"/>
                <a:gd name="T2" fmla="*/ 219 w 243"/>
                <a:gd name="T3" fmla="*/ 236 h 238"/>
                <a:gd name="T4" fmla="*/ 219 w 243"/>
                <a:gd name="T5" fmla="*/ 238 h 238"/>
                <a:gd name="T6" fmla="*/ 243 w 243"/>
                <a:gd name="T7" fmla="*/ 238 h 238"/>
                <a:gd name="T8" fmla="*/ 243 w 243"/>
                <a:gd name="T9" fmla="*/ 236 h 238"/>
                <a:gd name="T10" fmla="*/ 24 w 243"/>
                <a:gd name="T11" fmla="*/ 33 h 238"/>
                <a:gd name="T12" fmla="*/ 24 w 243"/>
                <a:gd name="T13" fmla="*/ 0 h 238"/>
                <a:gd name="T14" fmla="*/ 0 w 243"/>
                <a:gd name="T15" fmla="*/ 0 h 238"/>
                <a:gd name="T16" fmla="*/ 0 w 243"/>
                <a:gd name="T17" fmla="*/ 91 h 238"/>
                <a:gd name="T18" fmla="*/ 24 w 243"/>
                <a:gd name="T19" fmla="*/ 91 h 238"/>
                <a:gd name="T20" fmla="*/ 24 w 243"/>
                <a:gd name="T21" fmla="*/ 5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238">
                  <a:moveTo>
                    <a:pt x="24" y="57"/>
                  </a:moveTo>
                  <a:cubicBezTo>
                    <a:pt x="123" y="63"/>
                    <a:pt x="205" y="138"/>
                    <a:pt x="219" y="236"/>
                  </a:cubicBezTo>
                  <a:cubicBezTo>
                    <a:pt x="219" y="238"/>
                    <a:pt x="219" y="238"/>
                    <a:pt x="219" y="238"/>
                  </a:cubicBezTo>
                  <a:cubicBezTo>
                    <a:pt x="243" y="238"/>
                    <a:pt x="243" y="238"/>
                    <a:pt x="243" y="238"/>
                  </a:cubicBezTo>
                  <a:cubicBezTo>
                    <a:pt x="243" y="236"/>
                    <a:pt x="243" y="236"/>
                    <a:pt x="243" y="236"/>
                  </a:cubicBezTo>
                  <a:cubicBezTo>
                    <a:pt x="229" y="124"/>
                    <a:pt x="137" y="39"/>
                    <a:pt x="24" y="33"/>
                  </a:cubicBezTo>
                  <a:cubicBezTo>
                    <a:pt x="24" y="0"/>
                    <a:pt x="24" y="0"/>
                    <a:pt x="24" y="0"/>
                  </a:cubicBezTo>
                  <a:cubicBezTo>
                    <a:pt x="0" y="0"/>
                    <a:pt x="0" y="0"/>
                    <a:pt x="0" y="0"/>
                  </a:cubicBezTo>
                  <a:cubicBezTo>
                    <a:pt x="0" y="91"/>
                    <a:pt x="0" y="91"/>
                    <a:pt x="0" y="91"/>
                  </a:cubicBezTo>
                  <a:cubicBezTo>
                    <a:pt x="24" y="91"/>
                    <a:pt x="24" y="91"/>
                    <a:pt x="24" y="91"/>
                  </a:cubicBezTo>
                  <a:lnTo>
                    <a:pt x="2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0" name="Freeform 15"/>
            <p:cNvSpPr>
              <a:spLocks/>
            </p:cNvSpPr>
            <p:nvPr/>
          </p:nvSpPr>
          <p:spPr bwMode="auto">
            <a:xfrm>
              <a:off x="9780744" y="3241769"/>
              <a:ext cx="636604" cy="623769"/>
            </a:xfrm>
            <a:custGeom>
              <a:avLst/>
              <a:gdLst>
                <a:gd name="T0" fmla="*/ 218 w 242"/>
                <a:gd name="T1" fmla="*/ 180 h 237"/>
                <a:gd name="T2" fmla="*/ 24 w 242"/>
                <a:gd name="T3" fmla="*/ 1 h 237"/>
                <a:gd name="T4" fmla="*/ 24 w 242"/>
                <a:gd name="T5" fmla="*/ 0 h 237"/>
                <a:gd name="T6" fmla="*/ 0 w 242"/>
                <a:gd name="T7" fmla="*/ 0 h 237"/>
                <a:gd name="T8" fmla="*/ 0 w 242"/>
                <a:gd name="T9" fmla="*/ 2 h 237"/>
                <a:gd name="T10" fmla="*/ 218 w 242"/>
                <a:gd name="T11" fmla="*/ 204 h 237"/>
                <a:gd name="T12" fmla="*/ 218 w 242"/>
                <a:gd name="T13" fmla="*/ 237 h 237"/>
                <a:gd name="T14" fmla="*/ 242 w 242"/>
                <a:gd name="T15" fmla="*/ 237 h 237"/>
                <a:gd name="T16" fmla="*/ 242 w 242"/>
                <a:gd name="T17" fmla="*/ 146 h 237"/>
                <a:gd name="T18" fmla="*/ 218 w 242"/>
                <a:gd name="T19" fmla="*/ 146 h 237"/>
                <a:gd name="T20" fmla="*/ 218 w 242"/>
                <a:gd name="T21" fmla="*/ 18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237">
                  <a:moveTo>
                    <a:pt x="218" y="180"/>
                  </a:moveTo>
                  <a:cubicBezTo>
                    <a:pt x="120" y="174"/>
                    <a:pt x="38" y="99"/>
                    <a:pt x="24" y="1"/>
                  </a:cubicBezTo>
                  <a:cubicBezTo>
                    <a:pt x="24" y="0"/>
                    <a:pt x="24" y="0"/>
                    <a:pt x="24" y="0"/>
                  </a:cubicBezTo>
                  <a:cubicBezTo>
                    <a:pt x="0" y="0"/>
                    <a:pt x="0" y="0"/>
                    <a:pt x="0" y="0"/>
                  </a:cubicBezTo>
                  <a:cubicBezTo>
                    <a:pt x="0" y="2"/>
                    <a:pt x="0" y="2"/>
                    <a:pt x="0" y="2"/>
                  </a:cubicBezTo>
                  <a:cubicBezTo>
                    <a:pt x="15" y="113"/>
                    <a:pt x="106" y="198"/>
                    <a:pt x="218" y="204"/>
                  </a:cubicBezTo>
                  <a:cubicBezTo>
                    <a:pt x="218" y="237"/>
                    <a:pt x="218" y="237"/>
                    <a:pt x="218" y="237"/>
                  </a:cubicBezTo>
                  <a:cubicBezTo>
                    <a:pt x="242" y="237"/>
                    <a:pt x="242" y="237"/>
                    <a:pt x="242" y="237"/>
                  </a:cubicBezTo>
                  <a:cubicBezTo>
                    <a:pt x="242" y="146"/>
                    <a:pt x="242" y="146"/>
                    <a:pt x="242" y="146"/>
                  </a:cubicBezTo>
                  <a:cubicBezTo>
                    <a:pt x="218" y="146"/>
                    <a:pt x="218" y="146"/>
                    <a:pt x="218" y="146"/>
                  </a:cubicBezTo>
                  <a:lnTo>
                    <a:pt x="218"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1" name="Freeform 16"/>
            <p:cNvSpPr>
              <a:spLocks/>
            </p:cNvSpPr>
            <p:nvPr/>
          </p:nvSpPr>
          <p:spPr bwMode="auto">
            <a:xfrm>
              <a:off x="10459703" y="3135240"/>
              <a:ext cx="626336" cy="637888"/>
            </a:xfrm>
            <a:custGeom>
              <a:avLst/>
              <a:gdLst>
                <a:gd name="T0" fmla="*/ 147 w 238"/>
                <a:gd name="T1" fmla="*/ 0 h 242"/>
                <a:gd name="T2" fmla="*/ 147 w 238"/>
                <a:gd name="T3" fmla="*/ 24 h 242"/>
                <a:gd name="T4" fmla="*/ 181 w 238"/>
                <a:gd name="T5" fmla="*/ 24 h 242"/>
                <a:gd name="T6" fmla="*/ 2 w 238"/>
                <a:gd name="T7" fmla="*/ 218 h 242"/>
                <a:gd name="T8" fmla="*/ 0 w 238"/>
                <a:gd name="T9" fmla="*/ 218 h 242"/>
                <a:gd name="T10" fmla="*/ 0 w 238"/>
                <a:gd name="T11" fmla="*/ 242 h 242"/>
                <a:gd name="T12" fmla="*/ 3 w 238"/>
                <a:gd name="T13" fmla="*/ 242 h 242"/>
                <a:gd name="T14" fmla="*/ 205 w 238"/>
                <a:gd name="T15" fmla="*/ 24 h 242"/>
                <a:gd name="T16" fmla="*/ 238 w 238"/>
                <a:gd name="T17" fmla="*/ 24 h 242"/>
                <a:gd name="T18" fmla="*/ 238 w 238"/>
                <a:gd name="T19" fmla="*/ 0 h 242"/>
                <a:gd name="T20" fmla="*/ 147 w 238"/>
                <a:gd name="T21"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42">
                  <a:moveTo>
                    <a:pt x="147" y="0"/>
                  </a:moveTo>
                  <a:cubicBezTo>
                    <a:pt x="147" y="24"/>
                    <a:pt x="147" y="24"/>
                    <a:pt x="147" y="24"/>
                  </a:cubicBezTo>
                  <a:cubicBezTo>
                    <a:pt x="181" y="24"/>
                    <a:pt x="181" y="24"/>
                    <a:pt x="181" y="24"/>
                  </a:cubicBezTo>
                  <a:cubicBezTo>
                    <a:pt x="175" y="122"/>
                    <a:pt x="100" y="204"/>
                    <a:pt x="2" y="218"/>
                  </a:cubicBezTo>
                  <a:cubicBezTo>
                    <a:pt x="0" y="218"/>
                    <a:pt x="0" y="218"/>
                    <a:pt x="0" y="218"/>
                  </a:cubicBezTo>
                  <a:cubicBezTo>
                    <a:pt x="0" y="242"/>
                    <a:pt x="0" y="242"/>
                    <a:pt x="0" y="242"/>
                  </a:cubicBezTo>
                  <a:cubicBezTo>
                    <a:pt x="3" y="242"/>
                    <a:pt x="3" y="242"/>
                    <a:pt x="3" y="242"/>
                  </a:cubicBezTo>
                  <a:cubicBezTo>
                    <a:pt x="114" y="227"/>
                    <a:pt x="199" y="136"/>
                    <a:pt x="205" y="24"/>
                  </a:cubicBezTo>
                  <a:cubicBezTo>
                    <a:pt x="238" y="24"/>
                    <a:pt x="238" y="24"/>
                    <a:pt x="238" y="24"/>
                  </a:cubicBezTo>
                  <a:cubicBezTo>
                    <a:pt x="238" y="0"/>
                    <a:pt x="238" y="0"/>
                    <a:pt x="238" y="0"/>
                  </a:cubicBez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2" name="Freeform 17"/>
            <p:cNvSpPr>
              <a:spLocks/>
            </p:cNvSpPr>
            <p:nvPr/>
          </p:nvSpPr>
          <p:spPr bwMode="auto">
            <a:xfrm>
              <a:off x="9688334" y="2558959"/>
              <a:ext cx="623769" cy="640455"/>
            </a:xfrm>
            <a:custGeom>
              <a:avLst/>
              <a:gdLst>
                <a:gd name="T0" fmla="*/ 91 w 237"/>
                <a:gd name="T1" fmla="*/ 219 h 243"/>
                <a:gd name="T2" fmla="*/ 57 w 237"/>
                <a:gd name="T3" fmla="*/ 219 h 243"/>
                <a:gd name="T4" fmla="*/ 236 w 237"/>
                <a:gd name="T5" fmla="*/ 24 h 243"/>
                <a:gd name="T6" fmla="*/ 237 w 237"/>
                <a:gd name="T7" fmla="*/ 24 h 243"/>
                <a:gd name="T8" fmla="*/ 237 w 237"/>
                <a:gd name="T9" fmla="*/ 0 h 243"/>
                <a:gd name="T10" fmla="*/ 235 w 237"/>
                <a:gd name="T11" fmla="*/ 0 h 243"/>
                <a:gd name="T12" fmla="*/ 33 w 237"/>
                <a:gd name="T13" fmla="*/ 219 h 243"/>
                <a:gd name="T14" fmla="*/ 0 w 237"/>
                <a:gd name="T15" fmla="*/ 219 h 243"/>
                <a:gd name="T16" fmla="*/ 0 w 237"/>
                <a:gd name="T17" fmla="*/ 243 h 243"/>
                <a:gd name="T18" fmla="*/ 91 w 237"/>
                <a:gd name="T19" fmla="*/ 243 h 243"/>
                <a:gd name="T20" fmla="*/ 91 w 237"/>
                <a:gd name="T21" fmla="*/ 21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243">
                  <a:moveTo>
                    <a:pt x="91" y="219"/>
                  </a:moveTo>
                  <a:cubicBezTo>
                    <a:pt x="57" y="219"/>
                    <a:pt x="57" y="219"/>
                    <a:pt x="57" y="219"/>
                  </a:cubicBezTo>
                  <a:cubicBezTo>
                    <a:pt x="63" y="120"/>
                    <a:pt x="138" y="38"/>
                    <a:pt x="236" y="24"/>
                  </a:cubicBezTo>
                  <a:cubicBezTo>
                    <a:pt x="237" y="24"/>
                    <a:pt x="237" y="24"/>
                    <a:pt x="237" y="24"/>
                  </a:cubicBezTo>
                  <a:cubicBezTo>
                    <a:pt x="237" y="0"/>
                    <a:pt x="237" y="0"/>
                    <a:pt x="237" y="0"/>
                  </a:cubicBezTo>
                  <a:cubicBezTo>
                    <a:pt x="235" y="0"/>
                    <a:pt x="235" y="0"/>
                    <a:pt x="235" y="0"/>
                  </a:cubicBezTo>
                  <a:cubicBezTo>
                    <a:pt x="124" y="15"/>
                    <a:pt x="39" y="106"/>
                    <a:pt x="33" y="219"/>
                  </a:cubicBezTo>
                  <a:cubicBezTo>
                    <a:pt x="0" y="219"/>
                    <a:pt x="0" y="219"/>
                    <a:pt x="0" y="219"/>
                  </a:cubicBezTo>
                  <a:cubicBezTo>
                    <a:pt x="0" y="243"/>
                    <a:pt x="0" y="243"/>
                    <a:pt x="0" y="243"/>
                  </a:cubicBezTo>
                  <a:cubicBezTo>
                    <a:pt x="91" y="243"/>
                    <a:pt x="91" y="243"/>
                    <a:pt x="91" y="243"/>
                  </a:cubicBezTo>
                  <a:lnTo>
                    <a:pt x="91"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3" name="Freeform 18"/>
            <p:cNvSpPr>
              <a:spLocks noEditPoints="1"/>
            </p:cNvSpPr>
            <p:nvPr/>
          </p:nvSpPr>
          <p:spPr bwMode="auto">
            <a:xfrm>
              <a:off x="10038723" y="2774583"/>
              <a:ext cx="723880" cy="432532"/>
            </a:xfrm>
            <a:custGeom>
              <a:avLst/>
              <a:gdLst>
                <a:gd name="T0" fmla="*/ 0 w 275"/>
                <a:gd name="T1" fmla="*/ 68 h 164"/>
                <a:gd name="T2" fmla="*/ 68 w 275"/>
                <a:gd name="T3" fmla="*/ 136 h 164"/>
                <a:gd name="T4" fmla="*/ 77 w 275"/>
                <a:gd name="T5" fmla="*/ 136 h 164"/>
                <a:gd name="T6" fmla="*/ 85 w 275"/>
                <a:gd name="T7" fmla="*/ 164 h 164"/>
                <a:gd name="T8" fmla="*/ 108 w 275"/>
                <a:gd name="T9" fmla="*/ 157 h 164"/>
                <a:gd name="T10" fmla="*/ 99 w 275"/>
                <a:gd name="T11" fmla="*/ 129 h 164"/>
                <a:gd name="T12" fmla="*/ 132 w 275"/>
                <a:gd name="T13" fmla="*/ 93 h 164"/>
                <a:gd name="T14" fmla="*/ 178 w 275"/>
                <a:gd name="T15" fmla="*/ 109 h 164"/>
                <a:gd name="T16" fmla="*/ 178 w 275"/>
                <a:gd name="T17" fmla="*/ 114 h 164"/>
                <a:gd name="T18" fmla="*/ 226 w 275"/>
                <a:gd name="T19" fmla="*/ 163 h 164"/>
                <a:gd name="T20" fmla="*/ 275 w 275"/>
                <a:gd name="T21" fmla="*/ 114 h 164"/>
                <a:gd name="T22" fmla="*/ 226 w 275"/>
                <a:gd name="T23" fmla="*/ 65 h 164"/>
                <a:gd name="T24" fmla="*/ 186 w 275"/>
                <a:gd name="T25" fmla="*/ 86 h 164"/>
                <a:gd name="T26" fmla="*/ 136 w 275"/>
                <a:gd name="T27" fmla="*/ 69 h 164"/>
                <a:gd name="T28" fmla="*/ 136 w 275"/>
                <a:gd name="T29" fmla="*/ 68 h 164"/>
                <a:gd name="T30" fmla="*/ 68 w 275"/>
                <a:gd name="T31" fmla="*/ 0 h 164"/>
                <a:gd name="T32" fmla="*/ 0 w 275"/>
                <a:gd name="T33" fmla="*/ 68 h 164"/>
                <a:gd name="T34" fmla="*/ 68 w 275"/>
                <a:gd name="T35" fmla="*/ 24 h 164"/>
                <a:gd name="T36" fmla="*/ 112 w 275"/>
                <a:gd name="T37" fmla="*/ 68 h 164"/>
                <a:gd name="T38" fmla="*/ 68 w 275"/>
                <a:gd name="T39" fmla="*/ 112 h 164"/>
                <a:gd name="T40" fmla="*/ 24 w 275"/>
                <a:gd name="T41" fmla="*/ 68 h 164"/>
                <a:gd name="T42" fmla="*/ 68 w 275"/>
                <a:gd name="T43" fmla="*/ 24 h 164"/>
                <a:gd name="T44" fmla="*/ 226 w 275"/>
                <a:gd name="T45" fmla="*/ 89 h 164"/>
                <a:gd name="T46" fmla="*/ 251 w 275"/>
                <a:gd name="T47" fmla="*/ 114 h 164"/>
                <a:gd name="T48" fmla="*/ 226 w 275"/>
                <a:gd name="T49" fmla="*/ 139 h 164"/>
                <a:gd name="T50" fmla="*/ 202 w 275"/>
                <a:gd name="T51" fmla="*/ 114 h 164"/>
                <a:gd name="T52" fmla="*/ 226 w 275"/>
                <a:gd name="T53" fmla="*/ 8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5" h="164">
                  <a:moveTo>
                    <a:pt x="0" y="68"/>
                  </a:moveTo>
                  <a:cubicBezTo>
                    <a:pt x="0" y="106"/>
                    <a:pt x="31" y="136"/>
                    <a:pt x="68" y="136"/>
                  </a:cubicBezTo>
                  <a:cubicBezTo>
                    <a:pt x="71" y="136"/>
                    <a:pt x="73" y="136"/>
                    <a:pt x="77" y="136"/>
                  </a:cubicBezTo>
                  <a:cubicBezTo>
                    <a:pt x="85" y="164"/>
                    <a:pt x="85" y="164"/>
                    <a:pt x="85" y="164"/>
                  </a:cubicBezTo>
                  <a:cubicBezTo>
                    <a:pt x="108" y="157"/>
                    <a:pt x="108" y="157"/>
                    <a:pt x="108" y="157"/>
                  </a:cubicBezTo>
                  <a:cubicBezTo>
                    <a:pt x="99" y="129"/>
                    <a:pt x="99" y="129"/>
                    <a:pt x="99" y="129"/>
                  </a:cubicBezTo>
                  <a:cubicBezTo>
                    <a:pt x="114" y="121"/>
                    <a:pt x="126" y="108"/>
                    <a:pt x="132" y="93"/>
                  </a:cubicBezTo>
                  <a:cubicBezTo>
                    <a:pt x="178" y="109"/>
                    <a:pt x="178" y="109"/>
                    <a:pt x="178" y="109"/>
                  </a:cubicBezTo>
                  <a:cubicBezTo>
                    <a:pt x="178" y="111"/>
                    <a:pt x="178" y="113"/>
                    <a:pt x="178" y="114"/>
                  </a:cubicBezTo>
                  <a:cubicBezTo>
                    <a:pt x="178" y="141"/>
                    <a:pt x="199" y="163"/>
                    <a:pt x="226" y="163"/>
                  </a:cubicBezTo>
                  <a:cubicBezTo>
                    <a:pt x="253" y="163"/>
                    <a:pt x="275" y="141"/>
                    <a:pt x="275" y="114"/>
                  </a:cubicBezTo>
                  <a:cubicBezTo>
                    <a:pt x="275" y="87"/>
                    <a:pt x="253" y="65"/>
                    <a:pt x="226" y="65"/>
                  </a:cubicBezTo>
                  <a:cubicBezTo>
                    <a:pt x="210" y="65"/>
                    <a:pt x="196" y="73"/>
                    <a:pt x="186" y="86"/>
                  </a:cubicBezTo>
                  <a:cubicBezTo>
                    <a:pt x="136" y="69"/>
                    <a:pt x="136" y="69"/>
                    <a:pt x="136" y="69"/>
                  </a:cubicBezTo>
                  <a:cubicBezTo>
                    <a:pt x="136" y="69"/>
                    <a:pt x="136" y="69"/>
                    <a:pt x="136" y="68"/>
                  </a:cubicBezTo>
                  <a:cubicBezTo>
                    <a:pt x="136" y="31"/>
                    <a:pt x="106" y="0"/>
                    <a:pt x="68" y="0"/>
                  </a:cubicBezTo>
                  <a:cubicBezTo>
                    <a:pt x="31" y="0"/>
                    <a:pt x="0" y="31"/>
                    <a:pt x="0" y="68"/>
                  </a:cubicBezTo>
                  <a:close/>
                  <a:moveTo>
                    <a:pt x="68" y="24"/>
                  </a:moveTo>
                  <a:cubicBezTo>
                    <a:pt x="93" y="24"/>
                    <a:pt x="112" y="44"/>
                    <a:pt x="112" y="68"/>
                  </a:cubicBezTo>
                  <a:cubicBezTo>
                    <a:pt x="112" y="93"/>
                    <a:pt x="93" y="112"/>
                    <a:pt x="68" y="112"/>
                  </a:cubicBezTo>
                  <a:cubicBezTo>
                    <a:pt x="44" y="112"/>
                    <a:pt x="24" y="93"/>
                    <a:pt x="24" y="68"/>
                  </a:cubicBezTo>
                  <a:cubicBezTo>
                    <a:pt x="24" y="44"/>
                    <a:pt x="44" y="24"/>
                    <a:pt x="68" y="24"/>
                  </a:cubicBezTo>
                  <a:close/>
                  <a:moveTo>
                    <a:pt x="226" y="89"/>
                  </a:moveTo>
                  <a:cubicBezTo>
                    <a:pt x="240" y="89"/>
                    <a:pt x="251" y="101"/>
                    <a:pt x="251" y="114"/>
                  </a:cubicBezTo>
                  <a:cubicBezTo>
                    <a:pt x="251" y="128"/>
                    <a:pt x="240" y="139"/>
                    <a:pt x="226" y="139"/>
                  </a:cubicBezTo>
                  <a:cubicBezTo>
                    <a:pt x="213" y="139"/>
                    <a:pt x="202" y="128"/>
                    <a:pt x="202" y="114"/>
                  </a:cubicBezTo>
                  <a:cubicBezTo>
                    <a:pt x="202" y="101"/>
                    <a:pt x="213" y="89"/>
                    <a:pt x="22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4" name="Freeform 19"/>
            <p:cNvSpPr>
              <a:spLocks noEditPoints="1"/>
            </p:cNvSpPr>
            <p:nvPr/>
          </p:nvSpPr>
          <p:spPr bwMode="auto">
            <a:xfrm>
              <a:off x="10186323" y="3172461"/>
              <a:ext cx="365790" cy="382476"/>
            </a:xfrm>
            <a:custGeom>
              <a:avLst/>
              <a:gdLst>
                <a:gd name="T0" fmla="*/ 121 w 139"/>
                <a:gd name="T1" fmla="*/ 0 h 145"/>
                <a:gd name="T2" fmla="*/ 96 w 139"/>
                <a:gd name="T3" fmla="*/ 27 h 145"/>
                <a:gd name="T4" fmla="*/ 63 w 139"/>
                <a:gd name="T5" fmla="*/ 18 h 145"/>
                <a:gd name="T6" fmla="*/ 0 w 139"/>
                <a:gd name="T7" fmla="*/ 81 h 145"/>
                <a:gd name="T8" fmla="*/ 63 w 139"/>
                <a:gd name="T9" fmla="*/ 145 h 145"/>
                <a:gd name="T10" fmla="*/ 126 w 139"/>
                <a:gd name="T11" fmla="*/ 81 h 145"/>
                <a:gd name="T12" fmla="*/ 114 w 139"/>
                <a:gd name="T13" fmla="*/ 44 h 145"/>
                <a:gd name="T14" fmla="*/ 139 w 139"/>
                <a:gd name="T15" fmla="*/ 16 h 145"/>
                <a:gd name="T16" fmla="*/ 121 w 139"/>
                <a:gd name="T17" fmla="*/ 0 h 145"/>
                <a:gd name="T18" fmla="*/ 63 w 139"/>
                <a:gd name="T19" fmla="*/ 121 h 145"/>
                <a:gd name="T20" fmla="*/ 24 w 139"/>
                <a:gd name="T21" fmla="*/ 81 h 145"/>
                <a:gd name="T22" fmla="*/ 63 w 139"/>
                <a:gd name="T23" fmla="*/ 42 h 145"/>
                <a:gd name="T24" fmla="*/ 102 w 139"/>
                <a:gd name="T25" fmla="*/ 81 h 145"/>
                <a:gd name="T26" fmla="*/ 63 w 139"/>
                <a:gd name="T27" fmla="*/ 12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45">
                  <a:moveTo>
                    <a:pt x="121" y="0"/>
                  </a:moveTo>
                  <a:cubicBezTo>
                    <a:pt x="96" y="27"/>
                    <a:pt x="96" y="27"/>
                    <a:pt x="96" y="27"/>
                  </a:cubicBezTo>
                  <a:cubicBezTo>
                    <a:pt x="86" y="21"/>
                    <a:pt x="75" y="18"/>
                    <a:pt x="63" y="18"/>
                  </a:cubicBezTo>
                  <a:cubicBezTo>
                    <a:pt x="28" y="18"/>
                    <a:pt x="0" y="46"/>
                    <a:pt x="0" y="81"/>
                  </a:cubicBezTo>
                  <a:cubicBezTo>
                    <a:pt x="0" y="116"/>
                    <a:pt x="28" y="145"/>
                    <a:pt x="63" y="145"/>
                  </a:cubicBezTo>
                  <a:cubicBezTo>
                    <a:pt x="98" y="145"/>
                    <a:pt x="126" y="116"/>
                    <a:pt x="126" y="81"/>
                  </a:cubicBezTo>
                  <a:cubicBezTo>
                    <a:pt x="126" y="68"/>
                    <a:pt x="122" y="55"/>
                    <a:pt x="114" y="44"/>
                  </a:cubicBezTo>
                  <a:cubicBezTo>
                    <a:pt x="139" y="16"/>
                    <a:pt x="139" y="16"/>
                    <a:pt x="139" y="16"/>
                  </a:cubicBezTo>
                  <a:lnTo>
                    <a:pt x="121" y="0"/>
                  </a:lnTo>
                  <a:close/>
                  <a:moveTo>
                    <a:pt x="63" y="121"/>
                  </a:moveTo>
                  <a:cubicBezTo>
                    <a:pt x="41" y="121"/>
                    <a:pt x="24" y="103"/>
                    <a:pt x="24" y="81"/>
                  </a:cubicBezTo>
                  <a:cubicBezTo>
                    <a:pt x="24" y="60"/>
                    <a:pt x="41" y="42"/>
                    <a:pt x="63" y="42"/>
                  </a:cubicBezTo>
                  <a:cubicBezTo>
                    <a:pt x="85" y="42"/>
                    <a:pt x="102" y="60"/>
                    <a:pt x="102" y="81"/>
                  </a:cubicBezTo>
                  <a:cubicBezTo>
                    <a:pt x="102" y="103"/>
                    <a:pt x="85" y="121"/>
                    <a:pt x="63"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sp>
        <p:nvSpPr>
          <p:cNvPr id="55" name="L-Shape 54"/>
          <p:cNvSpPr/>
          <p:nvPr/>
        </p:nvSpPr>
        <p:spPr bwMode="auto">
          <a:xfrm rot="13500000">
            <a:off x="566136" y="4856942"/>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ts val="588"/>
              </a:spcBef>
              <a:spcAft>
                <a:spcPts val="588"/>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a:extLst>
              <a:ext uri="{FF2B5EF4-FFF2-40B4-BE49-F238E27FC236}">
                <a16:creationId xmlns:a16="http://schemas.microsoft.com/office/drawing/2014/main" id="{B0409B72-2EAD-4C05-B9F7-1E922E553E22}"/>
              </a:ext>
            </a:extLst>
          </p:cNvPr>
          <p:cNvPicPr>
            <a:picLocks noChangeAspect="1"/>
          </p:cNvPicPr>
          <p:nvPr/>
        </p:nvPicPr>
        <p:blipFill rotWithShape="1">
          <a:blip r:embed="rId3"/>
          <a:srcRect b="8960"/>
          <a:stretch/>
        </p:blipFill>
        <p:spPr>
          <a:xfrm>
            <a:off x="4535486" y="2114455"/>
            <a:ext cx="7158535" cy="4048952"/>
          </a:xfrm>
          <a:prstGeom prst="rect">
            <a:avLst/>
          </a:prstGeom>
        </p:spPr>
      </p:pic>
    </p:spTree>
    <p:extLst>
      <p:ext uri="{BB962C8B-B14F-4D97-AF65-F5344CB8AC3E}">
        <p14:creationId xmlns:p14="http://schemas.microsoft.com/office/powerpoint/2010/main" val="108851559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a:xfrm>
            <a:off x="269241" y="289957"/>
            <a:ext cx="7627836" cy="899537"/>
          </a:xfrm>
        </p:spPr>
        <p:txBody>
          <a:bodyPr>
            <a:normAutofit fontScale="90000"/>
          </a:bodyPr>
          <a:lstStyle/>
          <a:p>
            <a:r>
              <a:rPr lang="en-US" dirty="0"/>
              <a:t>Simplify security operations and investigation</a:t>
            </a:r>
          </a:p>
        </p:txBody>
      </p:sp>
      <p:grpSp>
        <p:nvGrpSpPr>
          <p:cNvPr id="28" name="Group 27"/>
          <p:cNvGrpSpPr/>
          <p:nvPr/>
        </p:nvGrpSpPr>
        <p:grpSpPr>
          <a:xfrm>
            <a:off x="11099330" y="321705"/>
            <a:ext cx="776189" cy="776902"/>
            <a:chOff x="9688334" y="2466549"/>
            <a:chExt cx="1397705" cy="1398989"/>
          </a:xfrm>
          <a:solidFill>
            <a:schemeClr val="accent1">
              <a:lumMod val="50000"/>
            </a:schemeClr>
          </a:solidFill>
        </p:grpSpPr>
        <p:sp>
          <p:nvSpPr>
            <p:cNvPr id="29" name="Freeform 14"/>
            <p:cNvSpPr>
              <a:spLocks/>
            </p:cNvSpPr>
            <p:nvPr/>
          </p:nvSpPr>
          <p:spPr bwMode="auto">
            <a:xfrm>
              <a:off x="10354458" y="2466549"/>
              <a:ext cx="639171" cy="627620"/>
            </a:xfrm>
            <a:custGeom>
              <a:avLst/>
              <a:gdLst>
                <a:gd name="T0" fmla="*/ 24 w 243"/>
                <a:gd name="T1" fmla="*/ 57 h 238"/>
                <a:gd name="T2" fmla="*/ 219 w 243"/>
                <a:gd name="T3" fmla="*/ 236 h 238"/>
                <a:gd name="T4" fmla="*/ 219 w 243"/>
                <a:gd name="T5" fmla="*/ 238 h 238"/>
                <a:gd name="T6" fmla="*/ 243 w 243"/>
                <a:gd name="T7" fmla="*/ 238 h 238"/>
                <a:gd name="T8" fmla="*/ 243 w 243"/>
                <a:gd name="T9" fmla="*/ 236 h 238"/>
                <a:gd name="T10" fmla="*/ 24 w 243"/>
                <a:gd name="T11" fmla="*/ 33 h 238"/>
                <a:gd name="T12" fmla="*/ 24 w 243"/>
                <a:gd name="T13" fmla="*/ 0 h 238"/>
                <a:gd name="T14" fmla="*/ 0 w 243"/>
                <a:gd name="T15" fmla="*/ 0 h 238"/>
                <a:gd name="T16" fmla="*/ 0 w 243"/>
                <a:gd name="T17" fmla="*/ 91 h 238"/>
                <a:gd name="T18" fmla="*/ 24 w 243"/>
                <a:gd name="T19" fmla="*/ 91 h 238"/>
                <a:gd name="T20" fmla="*/ 24 w 243"/>
                <a:gd name="T21" fmla="*/ 5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238">
                  <a:moveTo>
                    <a:pt x="24" y="57"/>
                  </a:moveTo>
                  <a:cubicBezTo>
                    <a:pt x="123" y="63"/>
                    <a:pt x="205" y="138"/>
                    <a:pt x="219" y="236"/>
                  </a:cubicBezTo>
                  <a:cubicBezTo>
                    <a:pt x="219" y="238"/>
                    <a:pt x="219" y="238"/>
                    <a:pt x="219" y="238"/>
                  </a:cubicBezTo>
                  <a:cubicBezTo>
                    <a:pt x="243" y="238"/>
                    <a:pt x="243" y="238"/>
                    <a:pt x="243" y="238"/>
                  </a:cubicBezTo>
                  <a:cubicBezTo>
                    <a:pt x="243" y="236"/>
                    <a:pt x="243" y="236"/>
                    <a:pt x="243" y="236"/>
                  </a:cubicBezTo>
                  <a:cubicBezTo>
                    <a:pt x="229" y="124"/>
                    <a:pt x="137" y="39"/>
                    <a:pt x="24" y="33"/>
                  </a:cubicBezTo>
                  <a:cubicBezTo>
                    <a:pt x="24" y="0"/>
                    <a:pt x="24" y="0"/>
                    <a:pt x="24" y="0"/>
                  </a:cubicBezTo>
                  <a:cubicBezTo>
                    <a:pt x="0" y="0"/>
                    <a:pt x="0" y="0"/>
                    <a:pt x="0" y="0"/>
                  </a:cubicBezTo>
                  <a:cubicBezTo>
                    <a:pt x="0" y="91"/>
                    <a:pt x="0" y="91"/>
                    <a:pt x="0" y="91"/>
                  </a:cubicBezTo>
                  <a:cubicBezTo>
                    <a:pt x="24" y="91"/>
                    <a:pt x="24" y="91"/>
                    <a:pt x="24" y="91"/>
                  </a:cubicBezTo>
                  <a:lnTo>
                    <a:pt x="2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0" name="Freeform 15"/>
            <p:cNvSpPr>
              <a:spLocks/>
            </p:cNvSpPr>
            <p:nvPr/>
          </p:nvSpPr>
          <p:spPr bwMode="auto">
            <a:xfrm>
              <a:off x="9780744" y="3241769"/>
              <a:ext cx="636604" cy="623769"/>
            </a:xfrm>
            <a:custGeom>
              <a:avLst/>
              <a:gdLst>
                <a:gd name="T0" fmla="*/ 218 w 242"/>
                <a:gd name="T1" fmla="*/ 180 h 237"/>
                <a:gd name="T2" fmla="*/ 24 w 242"/>
                <a:gd name="T3" fmla="*/ 1 h 237"/>
                <a:gd name="T4" fmla="*/ 24 w 242"/>
                <a:gd name="T5" fmla="*/ 0 h 237"/>
                <a:gd name="T6" fmla="*/ 0 w 242"/>
                <a:gd name="T7" fmla="*/ 0 h 237"/>
                <a:gd name="T8" fmla="*/ 0 w 242"/>
                <a:gd name="T9" fmla="*/ 2 h 237"/>
                <a:gd name="T10" fmla="*/ 218 w 242"/>
                <a:gd name="T11" fmla="*/ 204 h 237"/>
                <a:gd name="T12" fmla="*/ 218 w 242"/>
                <a:gd name="T13" fmla="*/ 237 h 237"/>
                <a:gd name="T14" fmla="*/ 242 w 242"/>
                <a:gd name="T15" fmla="*/ 237 h 237"/>
                <a:gd name="T16" fmla="*/ 242 w 242"/>
                <a:gd name="T17" fmla="*/ 146 h 237"/>
                <a:gd name="T18" fmla="*/ 218 w 242"/>
                <a:gd name="T19" fmla="*/ 146 h 237"/>
                <a:gd name="T20" fmla="*/ 218 w 242"/>
                <a:gd name="T21" fmla="*/ 18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237">
                  <a:moveTo>
                    <a:pt x="218" y="180"/>
                  </a:moveTo>
                  <a:cubicBezTo>
                    <a:pt x="120" y="174"/>
                    <a:pt x="38" y="99"/>
                    <a:pt x="24" y="1"/>
                  </a:cubicBezTo>
                  <a:cubicBezTo>
                    <a:pt x="24" y="0"/>
                    <a:pt x="24" y="0"/>
                    <a:pt x="24" y="0"/>
                  </a:cubicBezTo>
                  <a:cubicBezTo>
                    <a:pt x="0" y="0"/>
                    <a:pt x="0" y="0"/>
                    <a:pt x="0" y="0"/>
                  </a:cubicBezTo>
                  <a:cubicBezTo>
                    <a:pt x="0" y="2"/>
                    <a:pt x="0" y="2"/>
                    <a:pt x="0" y="2"/>
                  </a:cubicBezTo>
                  <a:cubicBezTo>
                    <a:pt x="15" y="113"/>
                    <a:pt x="106" y="198"/>
                    <a:pt x="218" y="204"/>
                  </a:cubicBezTo>
                  <a:cubicBezTo>
                    <a:pt x="218" y="237"/>
                    <a:pt x="218" y="237"/>
                    <a:pt x="218" y="237"/>
                  </a:cubicBezTo>
                  <a:cubicBezTo>
                    <a:pt x="242" y="237"/>
                    <a:pt x="242" y="237"/>
                    <a:pt x="242" y="237"/>
                  </a:cubicBezTo>
                  <a:cubicBezTo>
                    <a:pt x="242" y="146"/>
                    <a:pt x="242" y="146"/>
                    <a:pt x="242" y="146"/>
                  </a:cubicBezTo>
                  <a:cubicBezTo>
                    <a:pt x="218" y="146"/>
                    <a:pt x="218" y="146"/>
                    <a:pt x="218" y="146"/>
                  </a:cubicBezTo>
                  <a:lnTo>
                    <a:pt x="218"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1" name="Freeform 16"/>
            <p:cNvSpPr>
              <a:spLocks/>
            </p:cNvSpPr>
            <p:nvPr/>
          </p:nvSpPr>
          <p:spPr bwMode="auto">
            <a:xfrm>
              <a:off x="10459703" y="3135240"/>
              <a:ext cx="626336" cy="637888"/>
            </a:xfrm>
            <a:custGeom>
              <a:avLst/>
              <a:gdLst>
                <a:gd name="T0" fmla="*/ 147 w 238"/>
                <a:gd name="T1" fmla="*/ 0 h 242"/>
                <a:gd name="T2" fmla="*/ 147 w 238"/>
                <a:gd name="T3" fmla="*/ 24 h 242"/>
                <a:gd name="T4" fmla="*/ 181 w 238"/>
                <a:gd name="T5" fmla="*/ 24 h 242"/>
                <a:gd name="T6" fmla="*/ 2 w 238"/>
                <a:gd name="T7" fmla="*/ 218 h 242"/>
                <a:gd name="T8" fmla="*/ 0 w 238"/>
                <a:gd name="T9" fmla="*/ 218 h 242"/>
                <a:gd name="T10" fmla="*/ 0 w 238"/>
                <a:gd name="T11" fmla="*/ 242 h 242"/>
                <a:gd name="T12" fmla="*/ 3 w 238"/>
                <a:gd name="T13" fmla="*/ 242 h 242"/>
                <a:gd name="T14" fmla="*/ 205 w 238"/>
                <a:gd name="T15" fmla="*/ 24 h 242"/>
                <a:gd name="T16" fmla="*/ 238 w 238"/>
                <a:gd name="T17" fmla="*/ 24 h 242"/>
                <a:gd name="T18" fmla="*/ 238 w 238"/>
                <a:gd name="T19" fmla="*/ 0 h 242"/>
                <a:gd name="T20" fmla="*/ 147 w 238"/>
                <a:gd name="T21"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42">
                  <a:moveTo>
                    <a:pt x="147" y="0"/>
                  </a:moveTo>
                  <a:cubicBezTo>
                    <a:pt x="147" y="24"/>
                    <a:pt x="147" y="24"/>
                    <a:pt x="147" y="24"/>
                  </a:cubicBezTo>
                  <a:cubicBezTo>
                    <a:pt x="181" y="24"/>
                    <a:pt x="181" y="24"/>
                    <a:pt x="181" y="24"/>
                  </a:cubicBezTo>
                  <a:cubicBezTo>
                    <a:pt x="175" y="122"/>
                    <a:pt x="100" y="204"/>
                    <a:pt x="2" y="218"/>
                  </a:cubicBezTo>
                  <a:cubicBezTo>
                    <a:pt x="0" y="218"/>
                    <a:pt x="0" y="218"/>
                    <a:pt x="0" y="218"/>
                  </a:cubicBezTo>
                  <a:cubicBezTo>
                    <a:pt x="0" y="242"/>
                    <a:pt x="0" y="242"/>
                    <a:pt x="0" y="242"/>
                  </a:cubicBezTo>
                  <a:cubicBezTo>
                    <a:pt x="3" y="242"/>
                    <a:pt x="3" y="242"/>
                    <a:pt x="3" y="242"/>
                  </a:cubicBezTo>
                  <a:cubicBezTo>
                    <a:pt x="114" y="227"/>
                    <a:pt x="199" y="136"/>
                    <a:pt x="205" y="24"/>
                  </a:cubicBezTo>
                  <a:cubicBezTo>
                    <a:pt x="238" y="24"/>
                    <a:pt x="238" y="24"/>
                    <a:pt x="238" y="24"/>
                  </a:cubicBezTo>
                  <a:cubicBezTo>
                    <a:pt x="238" y="0"/>
                    <a:pt x="238" y="0"/>
                    <a:pt x="238" y="0"/>
                  </a:cubicBez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2" name="Freeform 17"/>
            <p:cNvSpPr>
              <a:spLocks/>
            </p:cNvSpPr>
            <p:nvPr/>
          </p:nvSpPr>
          <p:spPr bwMode="auto">
            <a:xfrm>
              <a:off x="9688334" y="2558959"/>
              <a:ext cx="623769" cy="640455"/>
            </a:xfrm>
            <a:custGeom>
              <a:avLst/>
              <a:gdLst>
                <a:gd name="T0" fmla="*/ 91 w 237"/>
                <a:gd name="T1" fmla="*/ 219 h 243"/>
                <a:gd name="T2" fmla="*/ 57 w 237"/>
                <a:gd name="T3" fmla="*/ 219 h 243"/>
                <a:gd name="T4" fmla="*/ 236 w 237"/>
                <a:gd name="T5" fmla="*/ 24 h 243"/>
                <a:gd name="T6" fmla="*/ 237 w 237"/>
                <a:gd name="T7" fmla="*/ 24 h 243"/>
                <a:gd name="T8" fmla="*/ 237 w 237"/>
                <a:gd name="T9" fmla="*/ 0 h 243"/>
                <a:gd name="T10" fmla="*/ 235 w 237"/>
                <a:gd name="T11" fmla="*/ 0 h 243"/>
                <a:gd name="T12" fmla="*/ 33 w 237"/>
                <a:gd name="T13" fmla="*/ 219 h 243"/>
                <a:gd name="T14" fmla="*/ 0 w 237"/>
                <a:gd name="T15" fmla="*/ 219 h 243"/>
                <a:gd name="T16" fmla="*/ 0 w 237"/>
                <a:gd name="T17" fmla="*/ 243 h 243"/>
                <a:gd name="T18" fmla="*/ 91 w 237"/>
                <a:gd name="T19" fmla="*/ 243 h 243"/>
                <a:gd name="T20" fmla="*/ 91 w 237"/>
                <a:gd name="T21" fmla="*/ 21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243">
                  <a:moveTo>
                    <a:pt x="91" y="219"/>
                  </a:moveTo>
                  <a:cubicBezTo>
                    <a:pt x="57" y="219"/>
                    <a:pt x="57" y="219"/>
                    <a:pt x="57" y="219"/>
                  </a:cubicBezTo>
                  <a:cubicBezTo>
                    <a:pt x="63" y="120"/>
                    <a:pt x="138" y="38"/>
                    <a:pt x="236" y="24"/>
                  </a:cubicBezTo>
                  <a:cubicBezTo>
                    <a:pt x="237" y="24"/>
                    <a:pt x="237" y="24"/>
                    <a:pt x="237" y="24"/>
                  </a:cubicBezTo>
                  <a:cubicBezTo>
                    <a:pt x="237" y="0"/>
                    <a:pt x="237" y="0"/>
                    <a:pt x="237" y="0"/>
                  </a:cubicBezTo>
                  <a:cubicBezTo>
                    <a:pt x="235" y="0"/>
                    <a:pt x="235" y="0"/>
                    <a:pt x="235" y="0"/>
                  </a:cubicBezTo>
                  <a:cubicBezTo>
                    <a:pt x="124" y="15"/>
                    <a:pt x="39" y="106"/>
                    <a:pt x="33" y="219"/>
                  </a:cubicBezTo>
                  <a:cubicBezTo>
                    <a:pt x="0" y="219"/>
                    <a:pt x="0" y="219"/>
                    <a:pt x="0" y="219"/>
                  </a:cubicBezTo>
                  <a:cubicBezTo>
                    <a:pt x="0" y="243"/>
                    <a:pt x="0" y="243"/>
                    <a:pt x="0" y="243"/>
                  </a:cubicBezTo>
                  <a:cubicBezTo>
                    <a:pt x="91" y="243"/>
                    <a:pt x="91" y="243"/>
                    <a:pt x="91" y="243"/>
                  </a:cubicBezTo>
                  <a:lnTo>
                    <a:pt x="91"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3" name="Freeform 18"/>
            <p:cNvSpPr>
              <a:spLocks noEditPoints="1"/>
            </p:cNvSpPr>
            <p:nvPr/>
          </p:nvSpPr>
          <p:spPr bwMode="auto">
            <a:xfrm>
              <a:off x="10038723" y="2774583"/>
              <a:ext cx="723880" cy="432532"/>
            </a:xfrm>
            <a:custGeom>
              <a:avLst/>
              <a:gdLst>
                <a:gd name="T0" fmla="*/ 0 w 275"/>
                <a:gd name="T1" fmla="*/ 68 h 164"/>
                <a:gd name="T2" fmla="*/ 68 w 275"/>
                <a:gd name="T3" fmla="*/ 136 h 164"/>
                <a:gd name="T4" fmla="*/ 77 w 275"/>
                <a:gd name="T5" fmla="*/ 136 h 164"/>
                <a:gd name="T6" fmla="*/ 85 w 275"/>
                <a:gd name="T7" fmla="*/ 164 h 164"/>
                <a:gd name="T8" fmla="*/ 108 w 275"/>
                <a:gd name="T9" fmla="*/ 157 h 164"/>
                <a:gd name="T10" fmla="*/ 99 w 275"/>
                <a:gd name="T11" fmla="*/ 129 h 164"/>
                <a:gd name="T12" fmla="*/ 132 w 275"/>
                <a:gd name="T13" fmla="*/ 93 h 164"/>
                <a:gd name="T14" fmla="*/ 178 w 275"/>
                <a:gd name="T15" fmla="*/ 109 h 164"/>
                <a:gd name="T16" fmla="*/ 178 w 275"/>
                <a:gd name="T17" fmla="*/ 114 h 164"/>
                <a:gd name="T18" fmla="*/ 226 w 275"/>
                <a:gd name="T19" fmla="*/ 163 h 164"/>
                <a:gd name="T20" fmla="*/ 275 w 275"/>
                <a:gd name="T21" fmla="*/ 114 h 164"/>
                <a:gd name="T22" fmla="*/ 226 w 275"/>
                <a:gd name="T23" fmla="*/ 65 h 164"/>
                <a:gd name="T24" fmla="*/ 186 w 275"/>
                <a:gd name="T25" fmla="*/ 86 h 164"/>
                <a:gd name="T26" fmla="*/ 136 w 275"/>
                <a:gd name="T27" fmla="*/ 69 h 164"/>
                <a:gd name="T28" fmla="*/ 136 w 275"/>
                <a:gd name="T29" fmla="*/ 68 h 164"/>
                <a:gd name="T30" fmla="*/ 68 w 275"/>
                <a:gd name="T31" fmla="*/ 0 h 164"/>
                <a:gd name="T32" fmla="*/ 0 w 275"/>
                <a:gd name="T33" fmla="*/ 68 h 164"/>
                <a:gd name="T34" fmla="*/ 68 w 275"/>
                <a:gd name="T35" fmla="*/ 24 h 164"/>
                <a:gd name="T36" fmla="*/ 112 w 275"/>
                <a:gd name="T37" fmla="*/ 68 h 164"/>
                <a:gd name="T38" fmla="*/ 68 w 275"/>
                <a:gd name="T39" fmla="*/ 112 h 164"/>
                <a:gd name="T40" fmla="*/ 24 w 275"/>
                <a:gd name="T41" fmla="*/ 68 h 164"/>
                <a:gd name="T42" fmla="*/ 68 w 275"/>
                <a:gd name="T43" fmla="*/ 24 h 164"/>
                <a:gd name="T44" fmla="*/ 226 w 275"/>
                <a:gd name="T45" fmla="*/ 89 h 164"/>
                <a:gd name="T46" fmla="*/ 251 w 275"/>
                <a:gd name="T47" fmla="*/ 114 h 164"/>
                <a:gd name="T48" fmla="*/ 226 w 275"/>
                <a:gd name="T49" fmla="*/ 139 h 164"/>
                <a:gd name="T50" fmla="*/ 202 w 275"/>
                <a:gd name="T51" fmla="*/ 114 h 164"/>
                <a:gd name="T52" fmla="*/ 226 w 275"/>
                <a:gd name="T53" fmla="*/ 8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5" h="164">
                  <a:moveTo>
                    <a:pt x="0" y="68"/>
                  </a:moveTo>
                  <a:cubicBezTo>
                    <a:pt x="0" y="106"/>
                    <a:pt x="31" y="136"/>
                    <a:pt x="68" y="136"/>
                  </a:cubicBezTo>
                  <a:cubicBezTo>
                    <a:pt x="71" y="136"/>
                    <a:pt x="73" y="136"/>
                    <a:pt x="77" y="136"/>
                  </a:cubicBezTo>
                  <a:cubicBezTo>
                    <a:pt x="85" y="164"/>
                    <a:pt x="85" y="164"/>
                    <a:pt x="85" y="164"/>
                  </a:cubicBezTo>
                  <a:cubicBezTo>
                    <a:pt x="108" y="157"/>
                    <a:pt x="108" y="157"/>
                    <a:pt x="108" y="157"/>
                  </a:cubicBezTo>
                  <a:cubicBezTo>
                    <a:pt x="99" y="129"/>
                    <a:pt x="99" y="129"/>
                    <a:pt x="99" y="129"/>
                  </a:cubicBezTo>
                  <a:cubicBezTo>
                    <a:pt x="114" y="121"/>
                    <a:pt x="126" y="108"/>
                    <a:pt x="132" y="93"/>
                  </a:cubicBezTo>
                  <a:cubicBezTo>
                    <a:pt x="178" y="109"/>
                    <a:pt x="178" y="109"/>
                    <a:pt x="178" y="109"/>
                  </a:cubicBezTo>
                  <a:cubicBezTo>
                    <a:pt x="178" y="111"/>
                    <a:pt x="178" y="113"/>
                    <a:pt x="178" y="114"/>
                  </a:cubicBezTo>
                  <a:cubicBezTo>
                    <a:pt x="178" y="141"/>
                    <a:pt x="199" y="163"/>
                    <a:pt x="226" y="163"/>
                  </a:cubicBezTo>
                  <a:cubicBezTo>
                    <a:pt x="253" y="163"/>
                    <a:pt x="275" y="141"/>
                    <a:pt x="275" y="114"/>
                  </a:cubicBezTo>
                  <a:cubicBezTo>
                    <a:pt x="275" y="87"/>
                    <a:pt x="253" y="65"/>
                    <a:pt x="226" y="65"/>
                  </a:cubicBezTo>
                  <a:cubicBezTo>
                    <a:pt x="210" y="65"/>
                    <a:pt x="196" y="73"/>
                    <a:pt x="186" y="86"/>
                  </a:cubicBezTo>
                  <a:cubicBezTo>
                    <a:pt x="136" y="69"/>
                    <a:pt x="136" y="69"/>
                    <a:pt x="136" y="69"/>
                  </a:cubicBezTo>
                  <a:cubicBezTo>
                    <a:pt x="136" y="69"/>
                    <a:pt x="136" y="69"/>
                    <a:pt x="136" y="68"/>
                  </a:cubicBezTo>
                  <a:cubicBezTo>
                    <a:pt x="136" y="31"/>
                    <a:pt x="106" y="0"/>
                    <a:pt x="68" y="0"/>
                  </a:cubicBezTo>
                  <a:cubicBezTo>
                    <a:pt x="31" y="0"/>
                    <a:pt x="0" y="31"/>
                    <a:pt x="0" y="68"/>
                  </a:cubicBezTo>
                  <a:close/>
                  <a:moveTo>
                    <a:pt x="68" y="24"/>
                  </a:moveTo>
                  <a:cubicBezTo>
                    <a:pt x="93" y="24"/>
                    <a:pt x="112" y="44"/>
                    <a:pt x="112" y="68"/>
                  </a:cubicBezTo>
                  <a:cubicBezTo>
                    <a:pt x="112" y="93"/>
                    <a:pt x="93" y="112"/>
                    <a:pt x="68" y="112"/>
                  </a:cubicBezTo>
                  <a:cubicBezTo>
                    <a:pt x="44" y="112"/>
                    <a:pt x="24" y="93"/>
                    <a:pt x="24" y="68"/>
                  </a:cubicBezTo>
                  <a:cubicBezTo>
                    <a:pt x="24" y="44"/>
                    <a:pt x="44" y="24"/>
                    <a:pt x="68" y="24"/>
                  </a:cubicBezTo>
                  <a:close/>
                  <a:moveTo>
                    <a:pt x="226" y="89"/>
                  </a:moveTo>
                  <a:cubicBezTo>
                    <a:pt x="240" y="89"/>
                    <a:pt x="251" y="101"/>
                    <a:pt x="251" y="114"/>
                  </a:cubicBezTo>
                  <a:cubicBezTo>
                    <a:pt x="251" y="128"/>
                    <a:pt x="240" y="139"/>
                    <a:pt x="226" y="139"/>
                  </a:cubicBezTo>
                  <a:cubicBezTo>
                    <a:pt x="213" y="139"/>
                    <a:pt x="202" y="128"/>
                    <a:pt x="202" y="114"/>
                  </a:cubicBezTo>
                  <a:cubicBezTo>
                    <a:pt x="202" y="101"/>
                    <a:pt x="213" y="89"/>
                    <a:pt x="22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4" name="Freeform 19"/>
            <p:cNvSpPr>
              <a:spLocks noEditPoints="1"/>
            </p:cNvSpPr>
            <p:nvPr/>
          </p:nvSpPr>
          <p:spPr bwMode="auto">
            <a:xfrm>
              <a:off x="10186323" y="3172461"/>
              <a:ext cx="365790" cy="382476"/>
            </a:xfrm>
            <a:custGeom>
              <a:avLst/>
              <a:gdLst>
                <a:gd name="T0" fmla="*/ 121 w 139"/>
                <a:gd name="T1" fmla="*/ 0 h 145"/>
                <a:gd name="T2" fmla="*/ 96 w 139"/>
                <a:gd name="T3" fmla="*/ 27 h 145"/>
                <a:gd name="T4" fmla="*/ 63 w 139"/>
                <a:gd name="T5" fmla="*/ 18 h 145"/>
                <a:gd name="T6" fmla="*/ 0 w 139"/>
                <a:gd name="T7" fmla="*/ 81 h 145"/>
                <a:gd name="T8" fmla="*/ 63 w 139"/>
                <a:gd name="T9" fmla="*/ 145 h 145"/>
                <a:gd name="T10" fmla="*/ 126 w 139"/>
                <a:gd name="T11" fmla="*/ 81 h 145"/>
                <a:gd name="T12" fmla="*/ 114 w 139"/>
                <a:gd name="T13" fmla="*/ 44 h 145"/>
                <a:gd name="T14" fmla="*/ 139 w 139"/>
                <a:gd name="T15" fmla="*/ 16 h 145"/>
                <a:gd name="T16" fmla="*/ 121 w 139"/>
                <a:gd name="T17" fmla="*/ 0 h 145"/>
                <a:gd name="T18" fmla="*/ 63 w 139"/>
                <a:gd name="T19" fmla="*/ 121 h 145"/>
                <a:gd name="T20" fmla="*/ 24 w 139"/>
                <a:gd name="T21" fmla="*/ 81 h 145"/>
                <a:gd name="T22" fmla="*/ 63 w 139"/>
                <a:gd name="T23" fmla="*/ 42 h 145"/>
                <a:gd name="T24" fmla="*/ 102 w 139"/>
                <a:gd name="T25" fmla="*/ 81 h 145"/>
                <a:gd name="T26" fmla="*/ 63 w 139"/>
                <a:gd name="T27" fmla="*/ 12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45">
                  <a:moveTo>
                    <a:pt x="121" y="0"/>
                  </a:moveTo>
                  <a:cubicBezTo>
                    <a:pt x="96" y="27"/>
                    <a:pt x="96" y="27"/>
                    <a:pt x="96" y="27"/>
                  </a:cubicBezTo>
                  <a:cubicBezTo>
                    <a:pt x="86" y="21"/>
                    <a:pt x="75" y="18"/>
                    <a:pt x="63" y="18"/>
                  </a:cubicBezTo>
                  <a:cubicBezTo>
                    <a:pt x="28" y="18"/>
                    <a:pt x="0" y="46"/>
                    <a:pt x="0" y="81"/>
                  </a:cubicBezTo>
                  <a:cubicBezTo>
                    <a:pt x="0" y="116"/>
                    <a:pt x="28" y="145"/>
                    <a:pt x="63" y="145"/>
                  </a:cubicBezTo>
                  <a:cubicBezTo>
                    <a:pt x="98" y="145"/>
                    <a:pt x="126" y="116"/>
                    <a:pt x="126" y="81"/>
                  </a:cubicBezTo>
                  <a:cubicBezTo>
                    <a:pt x="126" y="68"/>
                    <a:pt x="122" y="55"/>
                    <a:pt x="114" y="44"/>
                  </a:cubicBezTo>
                  <a:cubicBezTo>
                    <a:pt x="139" y="16"/>
                    <a:pt x="139" y="16"/>
                    <a:pt x="139" y="16"/>
                  </a:cubicBezTo>
                  <a:lnTo>
                    <a:pt x="121" y="0"/>
                  </a:lnTo>
                  <a:close/>
                  <a:moveTo>
                    <a:pt x="63" y="121"/>
                  </a:moveTo>
                  <a:cubicBezTo>
                    <a:pt x="41" y="121"/>
                    <a:pt x="24" y="103"/>
                    <a:pt x="24" y="81"/>
                  </a:cubicBezTo>
                  <a:cubicBezTo>
                    <a:pt x="24" y="60"/>
                    <a:pt x="41" y="42"/>
                    <a:pt x="63" y="42"/>
                  </a:cubicBezTo>
                  <a:cubicBezTo>
                    <a:pt x="85" y="42"/>
                    <a:pt x="102" y="60"/>
                    <a:pt x="102" y="81"/>
                  </a:cubicBezTo>
                  <a:cubicBezTo>
                    <a:pt x="102" y="103"/>
                    <a:pt x="85" y="121"/>
                    <a:pt x="63"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sp>
        <p:nvSpPr>
          <p:cNvPr id="19" name="Text Placeholder 12"/>
          <p:cNvSpPr txBox="1">
            <a:spLocks/>
          </p:cNvSpPr>
          <p:nvPr/>
        </p:nvSpPr>
        <p:spPr>
          <a:xfrm>
            <a:off x="269241" y="2626515"/>
            <a:ext cx="3729099" cy="3138255"/>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874">
              <a:spcBef>
                <a:spcPts val="0"/>
              </a:spcBef>
              <a:spcAft>
                <a:spcPts val="980"/>
              </a:spcAft>
              <a:buNone/>
              <a:defRPr/>
            </a:pPr>
            <a:r>
              <a:rPr lang="en-US" sz="1765" b="1" kern="0" dirty="0">
                <a:solidFill>
                  <a:schemeClr val="bg1"/>
                </a:solidFill>
                <a:latin typeface="Segoe UI" panose="020B0502040204020203" pitchFamily="34" charset="0"/>
                <a:cs typeface="Segoe UI" panose="020B0502040204020203" pitchFamily="34" charset="0"/>
              </a:rPr>
              <a:t>Quickly assess the scope and impact of an attack</a:t>
            </a:r>
          </a:p>
          <a:p>
            <a:pPr marL="448193" indent="0">
              <a:spcBef>
                <a:spcPts val="0"/>
              </a:spcBef>
              <a:spcAft>
                <a:spcPts val="980"/>
              </a:spcAft>
              <a:buNone/>
            </a:pPr>
            <a:r>
              <a:rPr lang="en-US" sz="1765" dirty="0">
                <a:solidFill>
                  <a:schemeClr val="bg1"/>
                </a:solidFill>
                <a:latin typeface="+mn-lt"/>
                <a:ea typeface="Calibri" panose="020F0502020204030204" pitchFamily="34" charset="0"/>
                <a:cs typeface="Segoe UI" panose="020B0502040204020203" pitchFamily="34" charset="0"/>
              </a:rPr>
              <a:t>Interactive experience to explore links across alerts, computers and users</a:t>
            </a:r>
          </a:p>
          <a:p>
            <a:pPr marL="448193" indent="0">
              <a:spcBef>
                <a:spcPts val="0"/>
              </a:spcBef>
              <a:spcAft>
                <a:spcPts val="980"/>
              </a:spcAft>
              <a:buNone/>
            </a:pPr>
            <a:r>
              <a:rPr lang="en-US" sz="1765" dirty="0">
                <a:solidFill>
                  <a:schemeClr val="bg1"/>
                </a:solidFill>
                <a:latin typeface="+mn-lt"/>
                <a:ea typeface="Calibri" panose="020F0502020204030204" pitchFamily="34" charset="0"/>
                <a:cs typeface="Segoe UI" panose="020B0502040204020203" pitchFamily="34" charset="0"/>
              </a:rPr>
              <a:t>Use predefined or ad hoc queries for deeper examination</a:t>
            </a:r>
          </a:p>
          <a:p>
            <a:pPr marL="0" indent="0">
              <a:spcBef>
                <a:spcPts val="0"/>
              </a:spcBef>
              <a:spcAft>
                <a:spcPts val="980"/>
              </a:spcAft>
              <a:buNone/>
            </a:pPr>
            <a:endParaRPr lang="en-US" sz="1765" b="1" kern="0" dirty="0">
              <a:solidFill>
                <a:schemeClr val="bg1"/>
              </a:solidFill>
              <a:latin typeface="Segoe UI" panose="020B0502040204020203" pitchFamily="34" charset="0"/>
              <a:cs typeface="Segoe UI" panose="020B0502040204020203" pitchFamily="34" charset="0"/>
            </a:endParaRPr>
          </a:p>
          <a:p>
            <a:pPr marL="448193" indent="0">
              <a:spcBef>
                <a:spcPts val="0"/>
              </a:spcBef>
              <a:spcAft>
                <a:spcPts val="980"/>
              </a:spcAft>
              <a:buNone/>
            </a:pPr>
            <a:endParaRPr lang="en-US" sz="1765" dirty="0">
              <a:solidFill>
                <a:schemeClr val="bg1"/>
              </a:solidFill>
              <a:latin typeface="+mn-lt"/>
              <a:ea typeface="Calibri" panose="020F0502020204030204" pitchFamily="34" charset="0"/>
              <a:cs typeface="Segoe UI" panose="020B0502040204020203" pitchFamily="34" charset="0"/>
            </a:endParaRPr>
          </a:p>
        </p:txBody>
      </p:sp>
      <p:sp>
        <p:nvSpPr>
          <p:cNvPr id="20" name="L-Shape 19"/>
          <p:cNvSpPr/>
          <p:nvPr/>
        </p:nvSpPr>
        <p:spPr bwMode="auto">
          <a:xfrm rot="13500000">
            <a:off x="566136" y="3395863"/>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Aft>
                <a:spcPts val="98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 name="L-Shape 23"/>
          <p:cNvSpPr/>
          <p:nvPr/>
        </p:nvSpPr>
        <p:spPr bwMode="auto">
          <a:xfrm rot="13500000">
            <a:off x="566136" y="4249209"/>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Aft>
                <a:spcPts val="98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a:extLst>
              <a:ext uri="{FF2B5EF4-FFF2-40B4-BE49-F238E27FC236}">
                <a16:creationId xmlns:a16="http://schemas.microsoft.com/office/drawing/2014/main" id="{4EF9FF21-0EE1-45C9-83F6-CD01BD3E6871}"/>
              </a:ext>
            </a:extLst>
          </p:cNvPr>
          <p:cNvPicPr>
            <a:picLocks noChangeAspect="1"/>
          </p:cNvPicPr>
          <p:nvPr/>
        </p:nvPicPr>
        <p:blipFill rotWithShape="1">
          <a:blip r:embed="rId3"/>
          <a:srcRect t="279" b="9047"/>
          <a:stretch/>
        </p:blipFill>
        <p:spPr>
          <a:xfrm>
            <a:off x="4520607" y="2120680"/>
            <a:ext cx="7176493" cy="4042727"/>
          </a:xfrm>
          <a:prstGeom prst="rect">
            <a:avLst/>
          </a:prstGeom>
        </p:spPr>
      </p:pic>
    </p:spTree>
    <p:extLst>
      <p:ext uri="{BB962C8B-B14F-4D97-AF65-F5344CB8AC3E}">
        <p14:creationId xmlns:p14="http://schemas.microsoft.com/office/powerpoint/2010/main" val="349768615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2B63F155-BEED-4F8A-88CA-37035368F05A}"/>
              </a:ext>
            </a:extLst>
          </p:cNvPr>
          <p:cNvGrpSpPr/>
          <p:nvPr/>
        </p:nvGrpSpPr>
        <p:grpSpPr>
          <a:xfrm>
            <a:off x="8407251" y="2316715"/>
            <a:ext cx="3784750" cy="4551935"/>
            <a:chOff x="8575832" y="2357433"/>
            <a:chExt cx="3860642" cy="4637091"/>
          </a:xfrm>
        </p:grpSpPr>
        <p:sp>
          <p:nvSpPr>
            <p:cNvPr id="62" name="Rectangle 61">
              <a:extLst>
                <a:ext uri="{FF2B5EF4-FFF2-40B4-BE49-F238E27FC236}">
                  <a16:creationId xmlns:a16="http://schemas.microsoft.com/office/drawing/2014/main" id="{5B512CD8-3B56-4099-97B8-449D79049C28}"/>
                </a:ext>
              </a:extLst>
            </p:cNvPr>
            <p:cNvSpPr/>
            <p:nvPr/>
          </p:nvSpPr>
          <p:spPr bwMode="auto">
            <a:xfrm>
              <a:off x="8695810" y="2357433"/>
              <a:ext cx="3740664" cy="463709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Isosceles Triangle 62">
              <a:extLst>
                <a:ext uri="{FF2B5EF4-FFF2-40B4-BE49-F238E27FC236}">
                  <a16:creationId xmlns:a16="http://schemas.microsoft.com/office/drawing/2014/main" id="{38F62264-9C36-46E3-9000-C28D86D5195B}"/>
                </a:ext>
              </a:extLst>
            </p:cNvPr>
            <p:cNvSpPr/>
            <p:nvPr/>
          </p:nvSpPr>
          <p:spPr bwMode="auto">
            <a:xfrm rot="16200000">
              <a:off x="8470190" y="4097777"/>
              <a:ext cx="338284" cy="127000"/>
            </a:xfrm>
            <a:prstGeom prst="triangle">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Respond quickly to threats</a:t>
            </a:r>
          </a:p>
        </p:txBody>
      </p:sp>
      <p:sp>
        <p:nvSpPr>
          <p:cNvPr id="24" name="Text Placeholder 12"/>
          <p:cNvSpPr txBox="1">
            <a:spLocks/>
          </p:cNvSpPr>
          <p:nvPr/>
        </p:nvSpPr>
        <p:spPr>
          <a:xfrm>
            <a:off x="207826" y="2691390"/>
            <a:ext cx="4035984" cy="1904071"/>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874">
              <a:spcBef>
                <a:spcPts val="0"/>
              </a:spcBef>
              <a:spcAft>
                <a:spcPts val="980"/>
              </a:spcAft>
              <a:buNone/>
              <a:defRPr/>
            </a:pPr>
            <a:r>
              <a:rPr lang="en-US" sz="1765" b="1" kern="0" dirty="0">
                <a:solidFill>
                  <a:schemeClr val="bg1"/>
                </a:solidFill>
                <a:latin typeface="Segoe UI" panose="020B0502040204020203" pitchFamily="34" charset="0"/>
                <a:cs typeface="Segoe UI" panose="020B0502040204020203" pitchFamily="34" charset="0"/>
              </a:rPr>
              <a:t>Automate and orchestrate common security workflows </a:t>
            </a:r>
          </a:p>
          <a:p>
            <a:pPr marL="448193" lvl="1" indent="0" defTabSz="913874">
              <a:spcBef>
                <a:spcPts val="0"/>
              </a:spcBef>
              <a:spcAft>
                <a:spcPts val="980"/>
              </a:spcAft>
              <a:buNone/>
              <a:defRPr/>
            </a:pPr>
            <a:r>
              <a:rPr lang="en-US" sz="1765" dirty="0">
                <a:solidFill>
                  <a:srgbClr val="FFFFFF"/>
                </a:solidFill>
                <a:latin typeface="Segoe UI Semilight"/>
                <a:cs typeface="Segoe UI" panose="020B0502040204020203" pitchFamily="34" charset="0"/>
              </a:rPr>
              <a:t>Create playbooks with integration of Azure Logic Apps</a:t>
            </a:r>
          </a:p>
          <a:p>
            <a:pPr marL="448193" lvl="1" indent="0" defTabSz="913874">
              <a:spcBef>
                <a:spcPts val="0"/>
              </a:spcBef>
              <a:spcAft>
                <a:spcPts val="980"/>
              </a:spcAft>
              <a:buNone/>
              <a:defRPr/>
            </a:pPr>
            <a:r>
              <a:rPr lang="en-US" sz="1765" dirty="0">
                <a:solidFill>
                  <a:srgbClr val="FFFFFF"/>
                </a:solidFill>
                <a:latin typeface="Segoe UI Semilight"/>
                <a:cs typeface="Segoe UI" panose="020B0502040204020203" pitchFamily="34" charset="0"/>
              </a:rPr>
              <a:t>Trigger workflows from any alert to enable conditional actions</a:t>
            </a:r>
          </a:p>
        </p:txBody>
      </p:sp>
      <p:grpSp>
        <p:nvGrpSpPr>
          <p:cNvPr id="25" name="Group 24"/>
          <p:cNvGrpSpPr/>
          <p:nvPr/>
        </p:nvGrpSpPr>
        <p:grpSpPr>
          <a:xfrm>
            <a:off x="11099330" y="321705"/>
            <a:ext cx="776189" cy="776902"/>
            <a:chOff x="9688334" y="2466549"/>
            <a:chExt cx="1397705" cy="1398989"/>
          </a:xfrm>
          <a:solidFill>
            <a:schemeClr val="accent1">
              <a:lumMod val="50000"/>
            </a:schemeClr>
          </a:solidFill>
        </p:grpSpPr>
        <p:sp>
          <p:nvSpPr>
            <p:cNvPr id="27" name="Freeform 14"/>
            <p:cNvSpPr>
              <a:spLocks/>
            </p:cNvSpPr>
            <p:nvPr/>
          </p:nvSpPr>
          <p:spPr bwMode="auto">
            <a:xfrm>
              <a:off x="10354458" y="2466549"/>
              <a:ext cx="639171" cy="627620"/>
            </a:xfrm>
            <a:custGeom>
              <a:avLst/>
              <a:gdLst>
                <a:gd name="T0" fmla="*/ 24 w 243"/>
                <a:gd name="T1" fmla="*/ 57 h 238"/>
                <a:gd name="T2" fmla="*/ 219 w 243"/>
                <a:gd name="T3" fmla="*/ 236 h 238"/>
                <a:gd name="T4" fmla="*/ 219 w 243"/>
                <a:gd name="T5" fmla="*/ 238 h 238"/>
                <a:gd name="T6" fmla="*/ 243 w 243"/>
                <a:gd name="T7" fmla="*/ 238 h 238"/>
                <a:gd name="T8" fmla="*/ 243 w 243"/>
                <a:gd name="T9" fmla="*/ 236 h 238"/>
                <a:gd name="T10" fmla="*/ 24 w 243"/>
                <a:gd name="T11" fmla="*/ 33 h 238"/>
                <a:gd name="T12" fmla="*/ 24 w 243"/>
                <a:gd name="T13" fmla="*/ 0 h 238"/>
                <a:gd name="T14" fmla="*/ 0 w 243"/>
                <a:gd name="T15" fmla="*/ 0 h 238"/>
                <a:gd name="T16" fmla="*/ 0 w 243"/>
                <a:gd name="T17" fmla="*/ 91 h 238"/>
                <a:gd name="T18" fmla="*/ 24 w 243"/>
                <a:gd name="T19" fmla="*/ 91 h 238"/>
                <a:gd name="T20" fmla="*/ 24 w 243"/>
                <a:gd name="T21" fmla="*/ 5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238">
                  <a:moveTo>
                    <a:pt x="24" y="57"/>
                  </a:moveTo>
                  <a:cubicBezTo>
                    <a:pt x="123" y="63"/>
                    <a:pt x="205" y="138"/>
                    <a:pt x="219" y="236"/>
                  </a:cubicBezTo>
                  <a:cubicBezTo>
                    <a:pt x="219" y="238"/>
                    <a:pt x="219" y="238"/>
                    <a:pt x="219" y="238"/>
                  </a:cubicBezTo>
                  <a:cubicBezTo>
                    <a:pt x="243" y="238"/>
                    <a:pt x="243" y="238"/>
                    <a:pt x="243" y="238"/>
                  </a:cubicBezTo>
                  <a:cubicBezTo>
                    <a:pt x="243" y="236"/>
                    <a:pt x="243" y="236"/>
                    <a:pt x="243" y="236"/>
                  </a:cubicBezTo>
                  <a:cubicBezTo>
                    <a:pt x="229" y="124"/>
                    <a:pt x="137" y="39"/>
                    <a:pt x="24" y="33"/>
                  </a:cubicBezTo>
                  <a:cubicBezTo>
                    <a:pt x="24" y="0"/>
                    <a:pt x="24" y="0"/>
                    <a:pt x="24" y="0"/>
                  </a:cubicBezTo>
                  <a:cubicBezTo>
                    <a:pt x="0" y="0"/>
                    <a:pt x="0" y="0"/>
                    <a:pt x="0" y="0"/>
                  </a:cubicBezTo>
                  <a:cubicBezTo>
                    <a:pt x="0" y="91"/>
                    <a:pt x="0" y="91"/>
                    <a:pt x="0" y="91"/>
                  </a:cubicBezTo>
                  <a:cubicBezTo>
                    <a:pt x="24" y="91"/>
                    <a:pt x="24" y="91"/>
                    <a:pt x="24" y="91"/>
                  </a:cubicBezTo>
                  <a:lnTo>
                    <a:pt x="2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8" name="Freeform 15"/>
            <p:cNvSpPr>
              <a:spLocks/>
            </p:cNvSpPr>
            <p:nvPr/>
          </p:nvSpPr>
          <p:spPr bwMode="auto">
            <a:xfrm>
              <a:off x="9780744" y="3241769"/>
              <a:ext cx="636604" cy="623769"/>
            </a:xfrm>
            <a:custGeom>
              <a:avLst/>
              <a:gdLst>
                <a:gd name="T0" fmla="*/ 218 w 242"/>
                <a:gd name="T1" fmla="*/ 180 h 237"/>
                <a:gd name="T2" fmla="*/ 24 w 242"/>
                <a:gd name="T3" fmla="*/ 1 h 237"/>
                <a:gd name="T4" fmla="*/ 24 w 242"/>
                <a:gd name="T5" fmla="*/ 0 h 237"/>
                <a:gd name="T6" fmla="*/ 0 w 242"/>
                <a:gd name="T7" fmla="*/ 0 h 237"/>
                <a:gd name="T8" fmla="*/ 0 w 242"/>
                <a:gd name="T9" fmla="*/ 2 h 237"/>
                <a:gd name="T10" fmla="*/ 218 w 242"/>
                <a:gd name="T11" fmla="*/ 204 h 237"/>
                <a:gd name="T12" fmla="*/ 218 w 242"/>
                <a:gd name="T13" fmla="*/ 237 h 237"/>
                <a:gd name="T14" fmla="*/ 242 w 242"/>
                <a:gd name="T15" fmla="*/ 237 h 237"/>
                <a:gd name="T16" fmla="*/ 242 w 242"/>
                <a:gd name="T17" fmla="*/ 146 h 237"/>
                <a:gd name="T18" fmla="*/ 218 w 242"/>
                <a:gd name="T19" fmla="*/ 146 h 237"/>
                <a:gd name="T20" fmla="*/ 218 w 242"/>
                <a:gd name="T21" fmla="*/ 18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237">
                  <a:moveTo>
                    <a:pt x="218" y="180"/>
                  </a:moveTo>
                  <a:cubicBezTo>
                    <a:pt x="120" y="174"/>
                    <a:pt x="38" y="99"/>
                    <a:pt x="24" y="1"/>
                  </a:cubicBezTo>
                  <a:cubicBezTo>
                    <a:pt x="24" y="0"/>
                    <a:pt x="24" y="0"/>
                    <a:pt x="24" y="0"/>
                  </a:cubicBezTo>
                  <a:cubicBezTo>
                    <a:pt x="0" y="0"/>
                    <a:pt x="0" y="0"/>
                    <a:pt x="0" y="0"/>
                  </a:cubicBezTo>
                  <a:cubicBezTo>
                    <a:pt x="0" y="2"/>
                    <a:pt x="0" y="2"/>
                    <a:pt x="0" y="2"/>
                  </a:cubicBezTo>
                  <a:cubicBezTo>
                    <a:pt x="15" y="113"/>
                    <a:pt x="106" y="198"/>
                    <a:pt x="218" y="204"/>
                  </a:cubicBezTo>
                  <a:cubicBezTo>
                    <a:pt x="218" y="237"/>
                    <a:pt x="218" y="237"/>
                    <a:pt x="218" y="237"/>
                  </a:cubicBezTo>
                  <a:cubicBezTo>
                    <a:pt x="242" y="237"/>
                    <a:pt x="242" y="237"/>
                    <a:pt x="242" y="237"/>
                  </a:cubicBezTo>
                  <a:cubicBezTo>
                    <a:pt x="242" y="146"/>
                    <a:pt x="242" y="146"/>
                    <a:pt x="242" y="146"/>
                  </a:cubicBezTo>
                  <a:cubicBezTo>
                    <a:pt x="218" y="146"/>
                    <a:pt x="218" y="146"/>
                    <a:pt x="218" y="146"/>
                  </a:cubicBezTo>
                  <a:lnTo>
                    <a:pt x="218"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2" name="Freeform 16"/>
            <p:cNvSpPr>
              <a:spLocks/>
            </p:cNvSpPr>
            <p:nvPr/>
          </p:nvSpPr>
          <p:spPr bwMode="auto">
            <a:xfrm>
              <a:off x="10459703" y="3135240"/>
              <a:ext cx="626336" cy="637888"/>
            </a:xfrm>
            <a:custGeom>
              <a:avLst/>
              <a:gdLst>
                <a:gd name="T0" fmla="*/ 147 w 238"/>
                <a:gd name="T1" fmla="*/ 0 h 242"/>
                <a:gd name="T2" fmla="*/ 147 w 238"/>
                <a:gd name="T3" fmla="*/ 24 h 242"/>
                <a:gd name="T4" fmla="*/ 181 w 238"/>
                <a:gd name="T5" fmla="*/ 24 h 242"/>
                <a:gd name="T6" fmla="*/ 2 w 238"/>
                <a:gd name="T7" fmla="*/ 218 h 242"/>
                <a:gd name="T8" fmla="*/ 0 w 238"/>
                <a:gd name="T9" fmla="*/ 218 h 242"/>
                <a:gd name="T10" fmla="*/ 0 w 238"/>
                <a:gd name="T11" fmla="*/ 242 h 242"/>
                <a:gd name="T12" fmla="*/ 3 w 238"/>
                <a:gd name="T13" fmla="*/ 242 h 242"/>
                <a:gd name="T14" fmla="*/ 205 w 238"/>
                <a:gd name="T15" fmla="*/ 24 h 242"/>
                <a:gd name="T16" fmla="*/ 238 w 238"/>
                <a:gd name="T17" fmla="*/ 24 h 242"/>
                <a:gd name="T18" fmla="*/ 238 w 238"/>
                <a:gd name="T19" fmla="*/ 0 h 242"/>
                <a:gd name="T20" fmla="*/ 147 w 238"/>
                <a:gd name="T21"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42">
                  <a:moveTo>
                    <a:pt x="147" y="0"/>
                  </a:moveTo>
                  <a:cubicBezTo>
                    <a:pt x="147" y="24"/>
                    <a:pt x="147" y="24"/>
                    <a:pt x="147" y="24"/>
                  </a:cubicBezTo>
                  <a:cubicBezTo>
                    <a:pt x="181" y="24"/>
                    <a:pt x="181" y="24"/>
                    <a:pt x="181" y="24"/>
                  </a:cubicBezTo>
                  <a:cubicBezTo>
                    <a:pt x="175" y="122"/>
                    <a:pt x="100" y="204"/>
                    <a:pt x="2" y="218"/>
                  </a:cubicBezTo>
                  <a:cubicBezTo>
                    <a:pt x="0" y="218"/>
                    <a:pt x="0" y="218"/>
                    <a:pt x="0" y="218"/>
                  </a:cubicBezTo>
                  <a:cubicBezTo>
                    <a:pt x="0" y="242"/>
                    <a:pt x="0" y="242"/>
                    <a:pt x="0" y="242"/>
                  </a:cubicBezTo>
                  <a:cubicBezTo>
                    <a:pt x="3" y="242"/>
                    <a:pt x="3" y="242"/>
                    <a:pt x="3" y="242"/>
                  </a:cubicBezTo>
                  <a:cubicBezTo>
                    <a:pt x="114" y="227"/>
                    <a:pt x="199" y="136"/>
                    <a:pt x="205" y="24"/>
                  </a:cubicBezTo>
                  <a:cubicBezTo>
                    <a:pt x="238" y="24"/>
                    <a:pt x="238" y="24"/>
                    <a:pt x="238" y="24"/>
                  </a:cubicBezTo>
                  <a:cubicBezTo>
                    <a:pt x="238" y="0"/>
                    <a:pt x="238" y="0"/>
                    <a:pt x="238" y="0"/>
                  </a:cubicBez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3" name="Freeform 17"/>
            <p:cNvSpPr>
              <a:spLocks/>
            </p:cNvSpPr>
            <p:nvPr/>
          </p:nvSpPr>
          <p:spPr bwMode="auto">
            <a:xfrm>
              <a:off x="9688334" y="2558959"/>
              <a:ext cx="623769" cy="640455"/>
            </a:xfrm>
            <a:custGeom>
              <a:avLst/>
              <a:gdLst>
                <a:gd name="T0" fmla="*/ 91 w 237"/>
                <a:gd name="T1" fmla="*/ 219 h 243"/>
                <a:gd name="T2" fmla="*/ 57 w 237"/>
                <a:gd name="T3" fmla="*/ 219 h 243"/>
                <a:gd name="T4" fmla="*/ 236 w 237"/>
                <a:gd name="T5" fmla="*/ 24 h 243"/>
                <a:gd name="T6" fmla="*/ 237 w 237"/>
                <a:gd name="T7" fmla="*/ 24 h 243"/>
                <a:gd name="T8" fmla="*/ 237 w 237"/>
                <a:gd name="T9" fmla="*/ 0 h 243"/>
                <a:gd name="T10" fmla="*/ 235 w 237"/>
                <a:gd name="T11" fmla="*/ 0 h 243"/>
                <a:gd name="T12" fmla="*/ 33 w 237"/>
                <a:gd name="T13" fmla="*/ 219 h 243"/>
                <a:gd name="T14" fmla="*/ 0 w 237"/>
                <a:gd name="T15" fmla="*/ 219 h 243"/>
                <a:gd name="T16" fmla="*/ 0 w 237"/>
                <a:gd name="T17" fmla="*/ 243 h 243"/>
                <a:gd name="T18" fmla="*/ 91 w 237"/>
                <a:gd name="T19" fmla="*/ 243 h 243"/>
                <a:gd name="T20" fmla="*/ 91 w 237"/>
                <a:gd name="T21" fmla="*/ 21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243">
                  <a:moveTo>
                    <a:pt x="91" y="219"/>
                  </a:moveTo>
                  <a:cubicBezTo>
                    <a:pt x="57" y="219"/>
                    <a:pt x="57" y="219"/>
                    <a:pt x="57" y="219"/>
                  </a:cubicBezTo>
                  <a:cubicBezTo>
                    <a:pt x="63" y="120"/>
                    <a:pt x="138" y="38"/>
                    <a:pt x="236" y="24"/>
                  </a:cubicBezTo>
                  <a:cubicBezTo>
                    <a:pt x="237" y="24"/>
                    <a:pt x="237" y="24"/>
                    <a:pt x="237" y="24"/>
                  </a:cubicBezTo>
                  <a:cubicBezTo>
                    <a:pt x="237" y="0"/>
                    <a:pt x="237" y="0"/>
                    <a:pt x="237" y="0"/>
                  </a:cubicBezTo>
                  <a:cubicBezTo>
                    <a:pt x="235" y="0"/>
                    <a:pt x="235" y="0"/>
                    <a:pt x="235" y="0"/>
                  </a:cubicBezTo>
                  <a:cubicBezTo>
                    <a:pt x="124" y="15"/>
                    <a:pt x="39" y="106"/>
                    <a:pt x="33" y="219"/>
                  </a:cubicBezTo>
                  <a:cubicBezTo>
                    <a:pt x="0" y="219"/>
                    <a:pt x="0" y="219"/>
                    <a:pt x="0" y="219"/>
                  </a:cubicBezTo>
                  <a:cubicBezTo>
                    <a:pt x="0" y="243"/>
                    <a:pt x="0" y="243"/>
                    <a:pt x="0" y="243"/>
                  </a:cubicBezTo>
                  <a:cubicBezTo>
                    <a:pt x="91" y="243"/>
                    <a:pt x="91" y="243"/>
                    <a:pt x="91" y="243"/>
                  </a:cubicBezTo>
                  <a:lnTo>
                    <a:pt x="91"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4" name="Freeform 18"/>
            <p:cNvSpPr>
              <a:spLocks noEditPoints="1"/>
            </p:cNvSpPr>
            <p:nvPr/>
          </p:nvSpPr>
          <p:spPr bwMode="auto">
            <a:xfrm>
              <a:off x="10038723" y="2774583"/>
              <a:ext cx="723880" cy="432532"/>
            </a:xfrm>
            <a:custGeom>
              <a:avLst/>
              <a:gdLst>
                <a:gd name="T0" fmla="*/ 0 w 275"/>
                <a:gd name="T1" fmla="*/ 68 h 164"/>
                <a:gd name="T2" fmla="*/ 68 w 275"/>
                <a:gd name="T3" fmla="*/ 136 h 164"/>
                <a:gd name="T4" fmla="*/ 77 w 275"/>
                <a:gd name="T5" fmla="*/ 136 h 164"/>
                <a:gd name="T6" fmla="*/ 85 w 275"/>
                <a:gd name="T7" fmla="*/ 164 h 164"/>
                <a:gd name="T8" fmla="*/ 108 w 275"/>
                <a:gd name="T9" fmla="*/ 157 h 164"/>
                <a:gd name="T10" fmla="*/ 99 w 275"/>
                <a:gd name="T11" fmla="*/ 129 h 164"/>
                <a:gd name="T12" fmla="*/ 132 w 275"/>
                <a:gd name="T13" fmla="*/ 93 h 164"/>
                <a:gd name="T14" fmla="*/ 178 w 275"/>
                <a:gd name="T15" fmla="*/ 109 h 164"/>
                <a:gd name="T16" fmla="*/ 178 w 275"/>
                <a:gd name="T17" fmla="*/ 114 h 164"/>
                <a:gd name="T18" fmla="*/ 226 w 275"/>
                <a:gd name="T19" fmla="*/ 163 h 164"/>
                <a:gd name="T20" fmla="*/ 275 w 275"/>
                <a:gd name="T21" fmla="*/ 114 h 164"/>
                <a:gd name="T22" fmla="*/ 226 w 275"/>
                <a:gd name="T23" fmla="*/ 65 h 164"/>
                <a:gd name="T24" fmla="*/ 186 w 275"/>
                <a:gd name="T25" fmla="*/ 86 h 164"/>
                <a:gd name="T26" fmla="*/ 136 w 275"/>
                <a:gd name="T27" fmla="*/ 69 h 164"/>
                <a:gd name="T28" fmla="*/ 136 w 275"/>
                <a:gd name="T29" fmla="*/ 68 h 164"/>
                <a:gd name="T30" fmla="*/ 68 w 275"/>
                <a:gd name="T31" fmla="*/ 0 h 164"/>
                <a:gd name="T32" fmla="*/ 0 w 275"/>
                <a:gd name="T33" fmla="*/ 68 h 164"/>
                <a:gd name="T34" fmla="*/ 68 w 275"/>
                <a:gd name="T35" fmla="*/ 24 h 164"/>
                <a:gd name="T36" fmla="*/ 112 w 275"/>
                <a:gd name="T37" fmla="*/ 68 h 164"/>
                <a:gd name="T38" fmla="*/ 68 w 275"/>
                <a:gd name="T39" fmla="*/ 112 h 164"/>
                <a:gd name="T40" fmla="*/ 24 w 275"/>
                <a:gd name="T41" fmla="*/ 68 h 164"/>
                <a:gd name="T42" fmla="*/ 68 w 275"/>
                <a:gd name="T43" fmla="*/ 24 h 164"/>
                <a:gd name="T44" fmla="*/ 226 w 275"/>
                <a:gd name="T45" fmla="*/ 89 h 164"/>
                <a:gd name="T46" fmla="*/ 251 w 275"/>
                <a:gd name="T47" fmla="*/ 114 h 164"/>
                <a:gd name="T48" fmla="*/ 226 w 275"/>
                <a:gd name="T49" fmla="*/ 139 h 164"/>
                <a:gd name="T50" fmla="*/ 202 w 275"/>
                <a:gd name="T51" fmla="*/ 114 h 164"/>
                <a:gd name="T52" fmla="*/ 226 w 275"/>
                <a:gd name="T53" fmla="*/ 8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5" h="164">
                  <a:moveTo>
                    <a:pt x="0" y="68"/>
                  </a:moveTo>
                  <a:cubicBezTo>
                    <a:pt x="0" y="106"/>
                    <a:pt x="31" y="136"/>
                    <a:pt x="68" y="136"/>
                  </a:cubicBezTo>
                  <a:cubicBezTo>
                    <a:pt x="71" y="136"/>
                    <a:pt x="73" y="136"/>
                    <a:pt x="77" y="136"/>
                  </a:cubicBezTo>
                  <a:cubicBezTo>
                    <a:pt x="85" y="164"/>
                    <a:pt x="85" y="164"/>
                    <a:pt x="85" y="164"/>
                  </a:cubicBezTo>
                  <a:cubicBezTo>
                    <a:pt x="108" y="157"/>
                    <a:pt x="108" y="157"/>
                    <a:pt x="108" y="157"/>
                  </a:cubicBezTo>
                  <a:cubicBezTo>
                    <a:pt x="99" y="129"/>
                    <a:pt x="99" y="129"/>
                    <a:pt x="99" y="129"/>
                  </a:cubicBezTo>
                  <a:cubicBezTo>
                    <a:pt x="114" y="121"/>
                    <a:pt x="126" y="108"/>
                    <a:pt x="132" y="93"/>
                  </a:cubicBezTo>
                  <a:cubicBezTo>
                    <a:pt x="178" y="109"/>
                    <a:pt x="178" y="109"/>
                    <a:pt x="178" y="109"/>
                  </a:cubicBezTo>
                  <a:cubicBezTo>
                    <a:pt x="178" y="111"/>
                    <a:pt x="178" y="113"/>
                    <a:pt x="178" y="114"/>
                  </a:cubicBezTo>
                  <a:cubicBezTo>
                    <a:pt x="178" y="141"/>
                    <a:pt x="199" y="163"/>
                    <a:pt x="226" y="163"/>
                  </a:cubicBezTo>
                  <a:cubicBezTo>
                    <a:pt x="253" y="163"/>
                    <a:pt x="275" y="141"/>
                    <a:pt x="275" y="114"/>
                  </a:cubicBezTo>
                  <a:cubicBezTo>
                    <a:pt x="275" y="87"/>
                    <a:pt x="253" y="65"/>
                    <a:pt x="226" y="65"/>
                  </a:cubicBezTo>
                  <a:cubicBezTo>
                    <a:pt x="210" y="65"/>
                    <a:pt x="196" y="73"/>
                    <a:pt x="186" y="86"/>
                  </a:cubicBezTo>
                  <a:cubicBezTo>
                    <a:pt x="136" y="69"/>
                    <a:pt x="136" y="69"/>
                    <a:pt x="136" y="69"/>
                  </a:cubicBezTo>
                  <a:cubicBezTo>
                    <a:pt x="136" y="69"/>
                    <a:pt x="136" y="69"/>
                    <a:pt x="136" y="68"/>
                  </a:cubicBezTo>
                  <a:cubicBezTo>
                    <a:pt x="136" y="31"/>
                    <a:pt x="106" y="0"/>
                    <a:pt x="68" y="0"/>
                  </a:cubicBezTo>
                  <a:cubicBezTo>
                    <a:pt x="31" y="0"/>
                    <a:pt x="0" y="31"/>
                    <a:pt x="0" y="68"/>
                  </a:cubicBezTo>
                  <a:close/>
                  <a:moveTo>
                    <a:pt x="68" y="24"/>
                  </a:moveTo>
                  <a:cubicBezTo>
                    <a:pt x="93" y="24"/>
                    <a:pt x="112" y="44"/>
                    <a:pt x="112" y="68"/>
                  </a:cubicBezTo>
                  <a:cubicBezTo>
                    <a:pt x="112" y="93"/>
                    <a:pt x="93" y="112"/>
                    <a:pt x="68" y="112"/>
                  </a:cubicBezTo>
                  <a:cubicBezTo>
                    <a:pt x="44" y="112"/>
                    <a:pt x="24" y="93"/>
                    <a:pt x="24" y="68"/>
                  </a:cubicBezTo>
                  <a:cubicBezTo>
                    <a:pt x="24" y="44"/>
                    <a:pt x="44" y="24"/>
                    <a:pt x="68" y="24"/>
                  </a:cubicBezTo>
                  <a:close/>
                  <a:moveTo>
                    <a:pt x="226" y="89"/>
                  </a:moveTo>
                  <a:cubicBezTo>
                    <a:pt x="240" y="89"/>
                    <a:pt x="251" y="101"/>
                    <a:pt x="251" y="114"/>
                  </a:cubicBezTo>
                  <a:cubicBezTo>
                    <a:pt x="251" y="128"/>
                    <a:pt x="240" y="139"/>
                    <a:pt x="226" y="139"/>
                  </a:cubicBezTo>
                  <a:cubicBezTo>
                    <a:pt x="213" y="139"/>
                    <a:pt x="202" y="128"/>
                    <a:pt x="202" y="114"/>
                  </a:cubicBezTo>
                  <a:cubicBezTo>
                    <a:pt x="202" y="101"/>
                    <a:pt x="213" y="89"/>
                    <a:pt x="22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5" name="Freeform 19"/>
            <p:cNvSpPr>
              <a:spLocks noEditPoints="1"/>
            </p:cNvSpPr>
            <p:nvPr/>
          </p:nvSpPr>
          <p:spPr bwMode="auto">
            <a:xfrm>
              <a:off x="10186323" y="3172461"/>
              <a:ext cx="365790" cy="382476"/>
            </a:xfrm>
            <a:custGeom>
              <a:avLst/>
              <a:gdLst>
                <a:gd name="T0" fmla="*/ 121 w 139"/>
                <a:gd name="T1" fmla="*/ 0 h 145"/>
                <a:gd name="T2" fmla="*/ 96 w 139"/>
                <a:gd name="T3" fmla="*/ 27 h 145"/>
                <a:gd name="T4" fmla="*/ 63 w 139"/>
                <a:gd name="T5" fmla="*/ 18 h 145"/>
                <a:gd name="T6" fmla="*/ 0 w 139"/>
                <a:gd name="T7" fmla="*/ 81 h 145"/>
                <a:gd name="T8" fmla="*/ 63 w 139"/>
                <a:gd name="T9" fmla="*/ 145 h 145"/>
                <a:gd name="T10" fmla="*/ 126 w 139"/>
                <a:gd name="T11" fmla="*/ 81 h 145"/>
                <a:gd name="T12" fmla="*/ 114 w 139"/>
                <a:gd name="T13" fmla="*/ 44 h 145"/>
                <a:gd name="T14" fmla="*/ 139 w 139"/>
                <a:gd name="T15" fmla="*/ 16 h 145"/>
                <a:gd name="T16" fmla="*/ 121 w 139"/>
                <a:gd name="T17" fmla="*/ 0 h 145"/>
                <a:gd name="T18" fmla="*/ 63 w 139"/>
                <a:gd name="T19" fmla="*/ 121 h 145"/>
                <a:gd name="T20" fmla="*/ 24 w 139"/>
                <a:gd name="T21" fmla="*/ 81 h 145"/>
                <a:gd name="T22" fmla="*/ 63 w 139"/>
                <a:gd name="T23" fmla="*/ 42 h 145"/>
                <a:gd name="T24" fmla="*/ 102 w 139"/>
                <a:gd name="T25" fmla="*/ 81 h 145"/>
                <a:gd name="T26" fmla="*/ 63 w 139"/>
                <a:gd name="T27" fmla="*/ 12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45">
                  <a:moveTo>
                    <a:pt x="121" y="0"/>
                  </a:moveTo>
                  <a:cubicBezTo>
                    <a:pt x="96" y="27"/>
                    <a:pt x="96" y="27"/>
                    <a:pt x="96" y="27"/>
                  </a:cubicBezTo>
                  <a:cubicBezTo>
                    <a:pt x="86" y="21"/>
                    <a:pt x="75" y="18"/>
                    <a:pt x="63" y="18"/>
                  </a:cubicBezTo>
                  <a:cubicBezTo>
                    <a:pt x="28" y="18"/>
                    <a:pt x="0" y="46"/>
                    <a:pt x="0" y="81"/>
                  </a:cubicBezTo>
                  <a:cubicBezTo>
                    <a:pt x="0" y="116"/>
                    <a:pt x="28" y="145"/>
                    <a:pt x="63" y="145"/>
                  </a:cubicBezTo>
                  <a:cubicBezTo>
                    <a:pt x="98" y="145"/>
                    <a:pt x="126" y="116"/>
                    <a:pt x="126" y="81"/>
                  </a:cubicBezTo>
                  <a:cubicBezTo>
                    <a:pt x="126" y="68"/>
                    <a:pt x="122" y="55"/>
                    <a:pt x="114" y="44"/>
                  </a:cubicBezTo>
                  <a:cubicBezTo>
                    <a:pt x="139" y="16"/>
                    <a:pt x="139" y="16"/>
                    <a:pt x="139" y="16"/>
                  </a:cubicBezTo>
                  <a:lnTo>
                    <a:pt x="121" y="0"/>
                  </a:lnTo>
                  <a:close/>
                  <a:moveTo>
                    <a:pt x="63" y="121"/>
                  </a:moveTo>
                  <a:cubicBezTo>
                    <a:pt x="41" y="121"/>
                    <a:pt x="24" y="103"/>
                    <a:pt x="24" y="81"/>
                  </a:cubicBezTo>
                  <a:cubicBezTo>
                    <a:pt x="24" y="60"/>
                    <a:pt x="41" y="42"/>
                    <a:pt x="63" y="42"/>
                  </a:cubicBezTo>
                  <a:cubicBezTo>
                    <a:pt x="85" y="42"/>
                    <a:pt x="102" y="60"/>
                    <a:pt x="102" y="81"/>
                  </a:cubicBezTo>
                  <a:cubicBezTo>
                    <a:pt x="102" y="103"/>
                    <a:pt x="85" y="121"/>
                    <a:pt x="63"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sp>
        <p:nvSpPr>
          <p:cNvPr id="20" name="L-Shape 19">
            <a:extLst>
              <a:ext uri="{FF2B5EF4-FFF2-40B4-BE49-F238E27FC236}">
                <a16:creationId xmlns:a16="http://schemas.microsoft.com/office/drawing/2014/main" id="{9BE214B4-C5E6-49B6-94AC-46047DA61E9A}"/>
              </a:ext>
            </a:extLst>
          </p:cNvPr>
          <p:cNvSpPr/>
          <p:nvPr/>
        </p:nvSpPr>
        <p:spPr bwMode="auto">
          <a:xfrm rot="13500000">
            <a:off x="504722" y="4070316"/>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L-Shape 15"/>
          <p:cNvSpPr/>
          <p:nvPr/>
        </p:nvSpPr>
        <p:spPr bwMode="auto">
          <a:xfrm rot="13500000">
            <a:off x="504722" y="3458384"/>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ts val="588"/>
              </a:spcBef>
              <a:spcAft>
                <a:spcPts val="588"/>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9AEF7640-2ED8-4589-9193-07DC562912CE}"/>
              </a:ext>
            </a:extLst>
          </p:cNvPr>
          <p:cNvSpPr/>
          <p:nvPr/>
        </p:nvSpPr>
        <p:spPr bwMode="auto">
          <a:xfrm>
            <a:off x="8649374" y="2659532"/>
            <a:ext cx="3376482" cy="21473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470" b="1" u="sng"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mmon workflows</a:t>
            </a:r>
          </a:p>
          <a:p>
            <a:pPr defTabSz="914102" fontAlgn="base">
              <a:lnSpc>
                <a:spcPct val="90000"/>
              </a:lnSpc>
              <a:spcBef>
                <a:spcPct val="0"/>
              </a:spcBef>
              <a:spcAft>
                <a:spcPct val="0"/>
              </a:spcAft>
            </a:pPr>
            <a:endParaRPr lang="en-US" sz="147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a:p>
            <a:pPr marL="280121" indent="-280121" defTabSz="914102" fontAlgn="base">
              <a:lnSpc>
                <a:spcPct val="90000"/>
              </a:lnSpc>
              <a:spcBef>
                <a:spcPct val="0"/>
              </a:spcBef>
              <a:spcAft>
                <a:spcPts val="588"/>
              </a:spcAft>
              <a:buFont typeface="Arial" panose="020B0604020202020204" pitchFamily="34" charset="0"/>
              <a:buChar char="•"/>
            </a:pPr>
            <a:r>
              <a:rPr lang="en-US" sz="1470" dirty="0">
                <a:gradFill>
                  <a:gsLst>
                    <a:gs pos="0">
                      <a:srgbClr val="FFFFFF"/>
                    </a:gs>
                    <a:gs pos="100000">
                      <a:srgbClr val="FFFFFF"/>
                    </a:gs>
                  </a:gsLst>
                  <a:lin ang="5400000" scaled="0"/>
                </a:gradFill>
                <a:latin typeface="Segoe UI Semilight"/>
                <a:cs typeface="Segoe UI" panose="020B0502040204020203" pitchFamily="34" charset="0"/>
              </a:rPr>
              <a:t>Route alerts to a ticketing system</a:t>
            </a:r>
          </a:p>
          <a:p>
            <a:pPr marL="280121" indent="-280121" defTabSz="914102" fontAlgn="base">
              <a:lnSpc>
                <a:spcPct val="90000"/>
              </a:lnSpc>
              <a:spcBef>
                <a:spcPct val="0"/>
              </a:spcBef>
              <a:spcAft>
                <a:spcPts val="588"/>
              </a:spcAft>
              <a:buFont typeface="Arial" panose="020B0604020202020204" pitchFamily="34" charset="0"/>
              <a:buChar char="•"/>
            </a:pPr>
            <a:r>
              <a:rPr lang="en-US" sz="1470" dirty="0">
                <a:gradFill>
                  <a:gsLst>
                    <a:gs pos="0">
                      <a:srgbClr val="FFFFFF"/>
                    </a:gs>
                    <a:gs pos="100000">
                      <a:srgbClr val="FFFFFF"/>
                    </a:gs>
                  </a:gsLst>
                  <a:lin ang="5400000" scaled="0"/>
                </a:gradFill>
                <a:latin typeface="Segoe UI Semilight"/>
                <a:cs typeface="Segoe UI" panose="020B0502040204020203" pitchFamily="34" charset="0"/>
              </a:rPr>
              <a:t>Gather additional information</a:t>
            </a:r>
          </a:p>
          <a:p>
            <a:pPr marL="280121" indent="-280121" defTabSz="914102" fontAlgn="base">
              <a:lnSpc>
                <a:spcPct val="90000"/>
              </a:lnSpc>
              <a:spcBef>
                <a:spcPct val="0"/>
              </a:spcBef>
              <a:spcAft>
                <a:spcPts val="588"/>
              </a:spcAft>
              <a:buFont typeface="Arial" panose="020B0604020202020204" pitchFamily="34" charset="0"/>
              <a:buChar char="•"/>
            </a:pPr>
            <a:r>
              <a:rPr lang="en-US" sz="1470" dirty="0">
                <a:gradFill>
                  <a:gsLst>
                    <a:gs pos="0">
                      <a:srgbClr val="FFFFFF"/>
                    </a:gs>
                    <a:gs pos="100000">
                      <a:srgbClr val="FFFFFF"/>
                    </a:gs>
                  </a:gsLst>
                  <a:lin ang="5400000" scaled="0"/>
                </a:gradFill>
                <a:latin typeface="Segoe UI Semilight"/>
                <a:cs typeface="Segoe UI" panose="020B0502040204020203" pitchFamily="34" charset="0"/>
              </a:rPr>
              <a:t>Apply additional security controls</a:t>
            </a:r>
          </a:p>
          <a:p>
            <a:pPr marL="280121" indent="-280121" defTabSz="914102" fontAlgn="base">
              <a:lnSpc>
                <a:spcPct val="90000"/>
              </a:lnSpc>
              <a:spcBef>
                <a:spcPct val="0"/>
              </a:spcBef>
              <a:spcAft>
                <a:spcPts val="588"/>
              </a:spcAft>
              <a:buFont typeface="Arial" panose="020B0604020202020204" pitchFamily="34" charset="0"/>
              <a:buChar char="•"/>
            </a:pPr>
            <a:r>
              <a:rPr lang="en-US" sz="1470" dirty="0">
                <a:gradFill>
                  <a:gsLst>
                    <a:gs pos="0">
                      <a:srgbClr val="FFFFFF"/>
                    </a:gs>
                    <a:gs pos="100000">
                      <a:srgbClr val="FFFFFF"/>
                    </a:gs>
                  </a:gsLst>
                  <a:lin ang="5400000" scaled="0"/>
                </a:gradFill>
                <a:latin typeface="Segoe UI Semilight"/>
                <a:cs typeface="Segoe UI" panose="020B0502040204020203" pitchFamily="34" charset="0"/>
              </a:rPr>
              <a:t>Ask a user to validate an action </a:t>
            </a:r>
          </a:p>
          <a:p>
            <a:pPr marL="280121" indent="-280121" defTabSz="914102" fontAlgn="base">
              <a:lnSpc>
                <a:spcPct val="90000"/>
              </a:lnSpc>
              <a:spcBef>
                <a:spcPct val="0"/>
              </a:spcBef>
              <a:spcAft>
                <a:spcPts val="588"/>
              </a:spcAft>
              <a:buFont typeface="Arial" panose="020B0604020202020204" pitchFamily="34" charset="0"/>
              <a:buChar char="•"/>
            </a:pPr>
            <a:r>
              <a:rPr lang="en-US" sz="1470" dirty="0">
                <a:gradFill>
                  <a:gsLst>
                    <a:gs pos="0">
                      <a:srgbClr val="FFFFFF"/>
                    </a:gs>
                    <a:gs pos="100000">
                      <a:srgbClr val="FFFFFF"/>
                    </a:gs>
                  </a:gsLst>
                  <a:lin ang="5400000" scaled="0"/>
                </a:gradFill>
                <a:latin typeface="Segoe UI Semilight"/>
                <a:cs typeface="Segoe UI" panose="020B0502040204020203" pitchFamily="34" charset="0"/>
              </a:rPr>
              <a:t>Block a suspicious user account</a:t>
            </a:r>
          </a:p>
          <a:p>
            <a:pPr marL="280121" indent="-280121" defTabSz="914102" fontAlgn="base">
              <a:lnSpc>
                <a:spcPct val="90000"/>
              </a:lnSpc>
              <a:spcBef>
                <a:spcPct val="0"/>
              </a:spcBef>
              <a:spcAft>
                <a:spcPts val="588"/>
              </a:spcAft>
              <a:buFont typeface="Arial" panose="020B0604020202020204" pitchFamily="34" charset="0"/>
              <a:buChar char="•"/>
            </a:pPr>
            <a:r>
              <a:rPr lang="en-US" sz="1470" dirty="0">
                <a:gradFill>
                  <a:gsLst>
                    <a:gs pos="0">
                      <a:srgbClr val="FFFFFF"/>
                    </a:gs>
                    <a:gs pos="100000">
                      <a:srgbClr val="FFFFFF"/>
                    </a:gs>
                  </a:gsLst>
                  <a:lin ang="5400000" scaled="0"/>
                </a:gradFill>
                <a:latin typeface="Segoe UI Semilight"/>
                <a:cs typeface="Segoe UI" panose="020B0502040204020203" pitchFamily="34" charset="0"/>
              </a:rPr>
              <a:t>Restrict traffic from an IP address</a:t>
            </a:r>
          </a:p>
          <a:p>
            <a:pPr defTabSz="914102"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a:extLst>
              <a:ext uri="{FF2B5EF4-FFF2-40B4-BE49-F238E27FC236}">
                <a16:creationId xmlns:a16="http://schemas.microsoft.com/office/drawing/2014/main" id="{FC37FE63-B0EC-4790-8C90-DAF85C6EE86B}"/>
              </a:ext>
            </a:extLst>
          </p:cNvPr>
          <p:cNvGrpSpPr/>
          <p:nvPr/>
        </p:nvGrpSpPr>
        <p:grpSpPr>
          <a:xfrm>
            <a:off x="4841512" y="2627468"/>
            <a:ext cx="3234798" cy="2998123"/>
            <a:chOff x="6615259" y="3139302"/>
            <a:chExt cx="3299662" cy="3058242"/>
          </a:xfrm>
        </p:grpSpPr>
        <p:grpSp>
          <p:nvGrpSpPr>
            <p:cNvPr id="60" name="Group 59">
              <a:extLst>
                <a:ext uri="{FF2B5EF4-FFF2-40B4-BE49-F238E27FC236}">
                  <a16:creationId xmlns:a16="http://schemas.microsoft.com/office/drawing/2014/main" id="{77EBA3AE-AF7E-4704-99CE-9253C4888786}"/>
                </a:ext>
              </a:extLst>
            </p:cNvPr>
            <p:cNvGrpSpPr/>
            <p:nvPr/>
          </p:nvGrpSpPr>
          <p:grpSpPr>
            <a:xfrm>
              <a:off x="6765894" y="3139302"/>
              <a:ext cx="2981159" cy="3058242"/>
              <a:chOff x="6765894" y="3139302"/>
              <a:chExt cx="2981159" cy="3058242"/>
            </a:xfrm>
          </p:grpSpPr>
          <p:grpSp>
            <p:nvGrpSpPr>
              <p:cNvPr id="58" name="Group 57">
                <a:extLst>
                  <a:ext uri="{FF2B5EF4-FFF2-40B4-BE49-F238E27FC236}">
                    <a16:creationId xmlns:a16="http://schemas.microsoft.com/office/drawing/2014/main" id="{533852B3-F2EE-40DA-B651-84307534AB9F}"/>
                  </a:ext>
                </a:extLst>
              </p:cNvPr>
              <p:cNvGrpSpPr/>
              <p:nvPr/>
            </p:nvGrpSpPr>
            <p:grpSpPr>
              <a:xfrm>
                <a:off x="6765894" y="3330573"/>
                <a:ext cx="2981159" cy="2866971"/>
                <a:chOff x="6765894" y="3330573"/>
                <a:chExt cx="2981159" cy="2866971"/>
              </a:xfrm>
            </p:grpSpPr>
            <p:sp>
              <p:nvSpPr>
                <p:cNvPr id="54" name="Oval 53">
                  <a:extLst>
                    <a:ext uri="{FF2B5EF4-FFF2-40B4-BE49-F238E27FC236}">
                      <a16:creationId xmlns:a16="http://schemas.microsoft.com/office/drawing/2014/main" id="{AB36D9CD-74B2-4F25-8282-BEA56C820777}"/>
                    </a:ext>
                  </a:extLst>
                </p:cNvPr>
                <p:cNvSpPr/>
                <p:nvPr/>
              </p:nvSpPr>
              <p:spPr bwMode="auto">
                <a:xfrm>
                  <a:off x="6936646" y="3330573"/>
                  <a:ext cx="2666852" cy="2666852"/>
                </a:xfrm>
                <a:prstGeom prst="ellipse">
                  <a:avLst/>
                </a:prstGeom>
                <a:noFill/>
                <a:ln w="38100"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a:extLst>
                    <a:ext uri="{FF2B5EF4-FFF2-40B4-BE49-F238E27FC236}">
                      <a16:creationId xmlns:a16="http://schemas.microsoft.com/office/drawing/2014/main" id="{C467F5A7-EB9C-40E7-8CA5-6894DAD9FE9D}"/>
                    </a:ext>
                  </a:extLst>
                </p:cNvPr>
                <p:cNvSpPr/>
                <p:nvPr/>
              </p:nvSpPr>
              <p:spPr bwMode="auto">
                <a:xfrm>
                  <a:off x="6765894" y="4327603"/>
                  <a:ext cx="308863" cy="584047"/>
                </a:xfrm>
                <a:prstGeom prst="rect">
                  <a:avLst/>
                </a:prstGeom>
                <a:solidFill>
                  <a:srgbClr val="0039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a:extLst>
                    <a:ext uri="{FF2B5EF4-FFF2-40B4-BE49-F238E27FC236}">
                      <a16:creationId xmlns:a16="http://schemas.microsoft.com/office/drawing/2014/main" id="{1118D932-B41C-4463-BCA0-87B996D6D6E9}"/>
                    </a:ext>
                  </a:extLst>
                </p:cNvPr>
                <p:cNvSpPr/>
                <p:nvPr/>
              </p:nvSpPr>
              <p:spPr bwMode="auto">
                <a:xfrm>
                  <a:off x="8115640" y="5762625"/>
                  <a:ext cx="365907" cy="434919"/>
                </a:xfrm>
                <a:prstGeom prst="rect">
                  <a:avLst/>
                </a:prstGeom>
                <a:solidFill>
                  <a:srgbClr val="0039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a:extLst>
                    <a:ext uri="{FF2B5EF4-FFF2-40B4-BE49-F238E27FC236}">
                      <a16:creationId xmlns:a16="http://schemas.microsoft.com/office/drawing/2014/main" id="{24ABFDE9-0B59-4B2A-9A9E-3FA8924A23E0}"/>
                    </a:ext>
                  </a:extLst>
                </p:cNvPr>
                <p:cNvSpPr/>
                <p:nvPr/>
              </p:nvSpPr>
              <p:spPr bwMode="auto">
                <a:xfrm>
                  <a:off x="9381146" y="4327602"/>
                  <a:ext cx="365907" cy="584047"/>
                </a:xfrm>
                <a:prstGeom prst="rect">
                  <a:avLst/>
                </a:prstGeom>
                <a:solidFill>
                  <a:srgbClr val="0039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59" name="Rectangle 58">
                <a:extLst>
                  <a:ext uri="{FF2B5EF4-FFF2-40B4-BE49-F238E27FC236}">
                    <a16:creationId xmlns:a16="http://schemas.microsoft.com/office/drawing/2014/main" id="{94C1EEBB-6749-4D33-ADB4-C65708BFE08B}"/>
                  </a:ext>
                </a:extLst>
              </p:cNvPr>
              <p:cNvSpPr/>
              <p:nvPr/>
            </p:nvSpPr>
            <p:spPr bwMode="auto">
              <a:xfrm>
                <a:off x="7971300" y="3139302"/>
                <a:ext cx="596438" cy="584047"/>
              </a:xfrm>
              <a:prstGeom prst="rect">
                <a:avLst/>
              </a:prstGeom>
              <a:solidFill>
                <a:srgbClr val="0039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8B9CC077-7C78-40A0-BD2B-56920684017B}"/>
                </a:ext>
              </a:extLst>
            </p:cNvPr>
            <p:cNvPicPr>
              <a:picLocks noChangeAspect="1"/>
            </p:cNvPicPr>
            <p:nvPr/>
          </p:nvPicPr>
          <p:blipFill>
            <a:blip r:embed="rId3"/>
            <a:stretch>
              <a:fillRect/>
            </a:stretch>
          </p:blipFill>
          <p:spPr>
            <a:xfrm>
              <a:off x="6615259" y="4338279"/>
              <a:ext cx="621994" cy="571050"/>
            </a:xfrm>
            <a:prstGeom prst="rect">
              <a:avLst/>
            </a:prstGeom>
          </p:spPr>
        </p:pic>
        <p:grpSp>
          <p:nvGrpSpPr>
            <p:cNvPr id="15" name="Group 14">
              <a:extLst>
                <a:ext uri="{FF2B5EF4-FFF2-40B4-BE49-F238E27FC236}">
                  <a16:creationId xmlns:a16="http://schemas.microsoft.com/office/drawing/2014/main" id="{DA3842F9-6BC7-411D-9E40-DFF048C5646A}"/>
                </a:ext>
              </a:extLst>
            </p:cNvPr>
            <p:cNvGrpSpPr/>
            <p:nvPr/>
          </p:nvGrpSpPr>
          <p:grpSpPr>
            <a:xfrm>
              <a:off x="9415401" y="4374044"/>
              <a:ext cx="499520" cy="499520"/>
              <a:chOff x="4891088" y="3859213"/>
              <a:chExt cx="419100" cy="419100"/>
            </a:xfrm>
            <a:solidFill>
              <a:schemeClr val="bg1"/>
            </a:solidFill>
          </p:grpSpPr>
          <p:sp>
            <p:nvSpPr>
              <p:cNvPr id="11" name="Freeform 5">
                <a:extLst>
                  <a:ext uri="{FF2B5EF4-FFF2-40B4-BE49-F238E27FC236}">
                    <a16:creationId xmlns:a16="http://schemas.microsoft.com/office/drawing/2014/main" id="{1626EC21-6B04-47B1-9616-2BE69CC9A89A}"/>
                  </a:ext>
                </a:extLst>
              </p:cNvPr>
              <p:cNvSpPr>
                <a:spLocks/>
              </p:cNvSpPr>
              <p:nvPr/>
            </p:nvSpPr>
            <p:spPr bwMode="auto">
              <a:xfrm>
                <a:off x="5153025" y="3963988"/>
                <a:ext cx="157163" cy="112713"/>
              </a:xfrm>
              <a:custGeom>
                <a:avLst/>
                <a:gdLst>
                  <a:gd name="T0" fmla="*/ 36 w 36"/>
                  <a:gd name="T1" fmla="*/ 4 h 26"/>
                  <a:gd name="T2" fmla="*/ 32 w 36"/>
                  <a:gd name="T3" fmla="*/ 0 h 26"/>
                  <a:gd name="T4" fmla="*/ 0 w 36"/>
                  <a:gd name="T5" fmla="*/ 0 h 26"/>
                  <a:gd name="T6" fmla="*/ 0 w 36"/>
                  <a:gd name="T7" fmla="*/ 17 h 26"/>
                  <a:gd name="T8" fmla="*/ 12 w 36"/>
                  <a:gd name="T9" fmla="*/ 26 h 26"/>
                  <a:gd name="T10" fmla="*/ 36 w 36"/>
                  <a:gd name="T11" fmla="*/ 4 h 26"/>
                </a:gdLst>
                <a:ahLst/>
                <a:cxnLst>
                  <a:cxn ang="0">
                    <a:pos x="T0" y="T1"/>
                  </a:cxn>
                  <a:cxn ang="0">
                    <a:pos x="T2" y="T3"/>
                  </a:cxn>
                  <a:cxn ang="0">
                    <a:pos x="T4" y="T5"/>
                  </a:cxn>
                  <a:cxn ang="0">
                    <a:pos x="T6" y="T7"/>
                  </a:cxn>
                  <a:cxn ang="0">
                    <a:pos x="T8" y="T9"/>
                  </a:cxn>
                  <a:cxn ang="0">
                    <a:pos x="T10" y="T11"/>
                  </a:cxn>
                </a:cxnLst>
                <a:rect l="0" t="0" r="r" b="b"/>
                <a:pathLst>
                  <a:path w="36" h="26">
                    <a:moveTo>
                      <a:pt x="36" y="4"/>
                    </a:moveTo>
                    <a:cubicBezTo>
                      <a:pt x="35" y="2"/>
                      <a:pt x="34" y="0"/>
                      <a:pt x="32" y="0"/>
                    </a:cubicBezTo>
                    <a:cubicBezTo>
                      <a:pt x="0" y="0"/>
                      <a:pt x="0" y="0"/>
                      <a:pt x="0" y="0"/>
                    </a:cubicBezTo>
                    <a:cubicBezTo>
                      <a:pt x="0" y="17"/>
                      <a:pt x="0" y="17"/>
                      <a:pt x="0" y="17"/>
                    </a:cubicBezTo>
                    <a:cubicBezTo>
                      <a:pt x="12" y="26"/>
                      <a:pt x="12" y="26"/>
                      <a:pt x="12" y="26"/>
                    </a:cubicBezTo>
                    <a:lnTo>
                      <a:pt x="3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2" name="Freeform 6">
                <a:extLst>
                  <a:ext uri="{FF2B5EF4-FFF2-40B4-BE49-F238E27FC236}">
                    <a16:creationId xmlns:a16="http://schemas.microsoft.com/office/drawing/2014/main" id="{D6BC3BD1-374C-4C2D-8F06-5E84D8E179E6}"/>
                  </a:ext>
                </a:extLst>
              </p:cNvPr>
              <p:cNvSpPr>
                <a:spLocks/>
              </p:cNvSpPr>
              <p:nvPr/>
            </p:nvSpPr>
            <p:spPr bwMode="auto">
              <a:xfrm>
                <a:off x="5153025" y="4016375"/>
                <a:ext cx="157163" cy="174625"/>
              </a:xfrm>
              <a:custGeom>
                <a:avLst/>
                <a:gdLst>
                  <a:gd name="T0" fmla="*/ 14 w 36"/>
                  <a:gd name="T1" fmla="*/ 20 h 40"/>
                  <a:gd name="T2" fmla="*/ 12 w 36"/>
                  <a:gd name="T3" fmla="*/ 21 h 40"/>
                  <a:gd name="T4" fmla="*/ 10 w 36"/>
                  <a:gd name="T5" fmla="*/ 21 h 40"/>
                  <a:gd name="T6" fmla="*/ 0 w 36"/>
                  <a:gd name="T7" fmla="*/ 12 h 40"/>
                  <a:gd name="T8" fmla="*/ 0 w 36"/>
                  <a:gd name="T9" fmla="*/ 40 h 40"/>
                  <a:gd name="T10" fmla="*/ 32 w 36"/>
                  <a:gd name="T11" fmla="*/ 40 h 40"/>
                  <a:gd name="T12" fmla="*/ 36 w 36"/>
                  <a:gd name="T13" fmla="*/ 36 h 40"/>
                  <a:gd name="T14" fmla="*/ 36 w 36"/>
                  <a:gd name="T15" fmla="*/ 0 h 40"/>
                  <a:gd name="T16" fmla="*/ 14 w 36"/>
                  <a:gd name="T1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0">
                    <a:moveTo>
                      <a:pt x="14" y="20"/>
                    </a:moveTo>
                    <a:cubicBezTo>
                      <a:pt x="13" y="21"/>
                      <a:pt x="13" y="21"/>
                      <a:pt x="12" y="21"/>
                    </a:cubicBezTo>
                    <a:cubicBezTo>
                      <a:pt x="11" y="21"/>
                      <a:pt x="10" y="21"/>
                      <a:pt x="10" y="21"/>
                    </a:cubicBezTo>
                    <a:cubicBezTo>
                      <a:pt x="0" y="12"/>
                      <a:pt x="0" y="12"/>
                      <a:pt x="0" y="12"/>
                    </a:cubicBezTo>
                    <a:cubicBezTo>
                      <a:pt x="0" y="40"/>
                      <a:pt x="0" y="40"/>
                      <a:pt x="0" y="40"/>
                    </a:cubicBezTo>
                    <a:cubicBezTo>
                      <a:pt x="32" y="40"/>
                      <a:pt x="32" y="40"/>
                      <a:pt x="32" y="40"/>
                    </a:cubicBezTo>
                    <a:cubicBezTo>
                      <a:pt x="34" y="40"/>
                      <a:pt x="36" y="38"/>
                      <a:pt x="36" y="36"/>
                    </a:cubicBezTo>
                    <a:cubicBezTo>
                      <a:pt x="36" y="0"/>
                      <a:pt x="36" y="0"/>
                      <a:pt x="36" y="0"/>
                    </a:cubicBezTo>
                    <a:lnTo>
                      <a:pt x="1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Freeform 7">
                <a:extLst>
                  <a:ext uri="{FF2B5EF4-FFF2-40B4-BE49-F238E27FC236}">
                    <a16:creationId xmlns:a16="http://schemas.microsoft.com/office/drawing/2014/main" id="{532DAFA6-F69B-4727-B118-1F540C9580FF}"/>
                  </a:ext>
                </a:extLst>
              </p:cNvPr>
              <p:cNvSpPr>
                <a:spLocks/>
              </p:cNvSpPr>
              <p:nvPr/>
            </p:nvSpPr>
            <p:spPr bwMode="auto">
              <a:xfrm>
                <a:off x="4978400" y="4016375"/>
                <a:ext cx="65088" cy="104775"/>
              </a:xfrm>
              <a:custGeom>
                <a:avLst/>
                <a:gdLst>
                  <a:gd name="T0" fmla="*/ 0 w 15"/>
                  <a:gd name="T1" fmla="*/ 17 h 24"/>
                  <a:gd name="T2" fmla="*/ 1 w 15"/>
                  <a:gd name="T3" fmla="*/ 19 h 24"/>
                  <a:gd name="T4" fmla="*/ 2 w 15"/>
                  <a:gd name="T5" fmla="*/ 21 h 24"/>
                  <a:gd name="T6" fmla="*/ 3 w 15"/>
                  <a:gd name="T7" fmla="*/ 22 h 24"/>
                  <a:gd name="T8" fmla="*/ 4 w 15"/>
                  <a:gd name="T9" fmla="*/ 23 h 24"/>
                  <a:gd name="T10" fmla="*/ 6 w 15"/>
                  <a:gd name="T11" fmla="*/ 24 h 24"/>
                  <a:gd name="T12" fmla="*/ 7 w 15"/>
                  <a:gd name="T13" fmla="*/ 24 h 24"/>
                  <a:gd name="T14" fmla="*/ 9 w 15"/>
                  <a:gd name="T15" fmla="*/ 24 h 24"/>
                  <a:gd name="T16" fmla="*/ 10 w 15"/>
                  <a:gd name="T17" fmla="*/ 23 h 24"/>
                  <a:gd name="T18" fmla="*/ 12 w 15"/>
                  <a:gd name="T19" fmla="*/ 23 h 24"/>
                  <a:gd name="T20" fmla="*/ 13 w 15"/>
                  <a:gd name="T21" fmla="*/ 21 h 24"/>
                  <a:gd name="T22" fmla="*/ 14 w 15"/>
                  <a:gd name="T23" fmla="*/ 20 h 24"/>
                  <a:gd name="T24" fmla="*/ 15 w 15"/>
                  <a:gd name="T25" fmla="*/ 18 h 24"/>
                  <a:gd name="T26" fmla="*/ 15 w 15"/>
                  <a:gd name="T27" fmla="*/ 15 h 24"/>
                  <a:gd name="T28" fmla="*/ 15 w 15"/>
                  <a:gd name="T29" fmla="*/ 12 h 24"/>
                  <a:gd name="T30" fmla="*/ 15 w 15"/>
                  <a:gd name="T31" fmla="*/ 9 h 24"/>
                  <a:gd name="T32" fmla="*/ 15 w 15"/>
                  <a:gd name="T33" fmla="*/ 7 h 24"/>
                  <a:gd name="T34" fmla="*/ 14 w 15"/>
                  <a:gd name="T35" fmla="*/ 5 h 24"/>
                  <a:gd name="T36" fmla="*/ 13 w 15"/>
                  <a:gd name="T37" fmla="*/ 3 h 24"/>
                  <a:gd name="T38" fmla="*/ 12 w 15"/>
                  <a:gd name="T39" fmla="*/ 2 h 24"/>
                  <a:gd name="T40" fmla="*/ 11 w 15"/>
                  <a:gd name="T41" fmla="*/ 1 h 24"/>
                  <a:gd name="T42" fmla="*/ 9 w 15"/>
                  <a:gd name="T43" fmla="*/ 0 h 24"/>
                  <a:gd name="T44" fmla="*/ 7 w 15"/>
                  <a:gd name="T45" fmla="*/ 0 h 24"/>
                  <a:gd name="T46" fmla="*/ 6 w 15"/>
                  <a:gd name="T47" fmla="*/ 0 h 24"/>
                  <a:gd name="T48" fmla="*/ 4 w 15"/>
                  <a:gd name="T49" fmla="*/ 1 h 24"/>
                  <a:gd name="T50" fmla="*/ 3 w 15"/>
                  <a:gd name="T51" fmla="*/ 2 h 24"/>
                  <a:gd name="T52" fmla="*/ 2 w 15"/>
                  <a:gd name="T53" fmla="*/ 4 h 24"/>
                  <a:gd name="T54" fmla="*/ 1 w 15"/>
                  <a:gd name="T55" fmla="*/ 5 h 24"/>
                  <a:gd name="T56" fmla="*/ 0 w 15"/>
                  <a:gd name="T57" fmla="*/ 7 h 24"/>
                  <a:gd name="T58" fmla="*/ 0 w 15"/>
                  <a:gd name="T59" fmla="*/ 10 h 24"/>
                  <a:gd name="T60" fmla="*/ 0 w 15"/>
                  <a:gd name="T61" fmla="*/ 12 h 24"/>
                  <a:gd name="T62" fmla="*/ 0 w 15"/>
                  <a:gd name="T63" fmla="*/ 15 h 24"/>
                  <a:gd name="T64" fmla="*/ 0 w 15"/>
                  <a:gd name="T65"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 h="24">
                    <a:moveTo>
                      <a:pt x="0" y="17"/>
                    </a:moveTo>
                    <a:cubicBezTo>
                      <a:pt x="0" y="18"/>
                      <a:pt x="1" y="19"/>
                      <a:pt x="1" y="19"/>
                    </a:cubicBezTo>
                    <a:cubicBezTo>
                      <a:pt x="1" y="20"/>
                      <a:pt x="1" y="20"/>
                      <a:pt x="2" y="21"/>
                    </a:cubicBezTo>
                    <a:cubicBezTo>
                      <a:pt x="2" y="21"/>
                      <a:pt x="2" y="22"/>
                      <a:pt x="3" y="22"/>
                    </a:cubicBezTo>
                    <a:cubicBezTo>
                      <a:pt x="3" y="23"/>
                      <a:pt x="4" y="23"/>
                      <a:pt x="4" y="23"/>
                    </a:cubicBezTo>
                    <a:cubicBezTo>
                      <a:pt x="5" y="24"/>
                      <a:pt x="5" y="24"/>
                      <a:pt x="6" y="24"/>
                    </a:cubicBezTo>
                    <a:cubicBezTo>
                      <a:pt x="6" y="24"/>
                      <a:pt x="7" y="24"/>
                      <a:pt x="7" y="24"/>
                    </a:cubicBezTo>
                    <a:cubicBezTo>
                      <a:pt x="8" y="24"/>
                      <a:pt x="8" y="24"/>
                      <a:pt x="9" y="24"/>
                    </a:cubicBezTo>
                    <a:cubicBezTo>
                      <a:pt x="9" y="24"/>
                      <a:pt x="10" y="24"/>
                      <a:pt x="10" y="23"/>
                    </a:cubicBezTo>
                    <a:cubicBezTo>
                      <a:pt x="11" y="23"/>
                      <a:pt x="11" y="23"/>
                      <a:pt x="12" y="23"/>
                    </a:cubicBezTo>
                    <a:cubicBezTo>
                      <a:pt x="12" y="22"/>
                      <a:pt x="13" y="22"/>
                      <a:pt x="13" y="21"/>
                    </a:cubicBezTo>
                    <a:cubicBezTo>
                      <a:pt x="13" y="21"/>
                      <a:pt x="14" y="20"/>
                      <a:pt x="14" y="20"/>
                    </a:cubicBezTo>
                    <a:cubicBezTo>
                      <a:pt x="14" y="19"/>
                      <a:pt x="15" y="18"/>
                      <a:pt x="15" y="18"/>
                    </a:cubicBezTo>
                    <a:cubicBezTo>
                      <a:pt x="15" y="17"/>
                      <a:pt x="15" y="16"/>
                      <a:pt x="15" y="15"/>
                    </a:cubicBezTo>
                    <a:cubicBezTo>
                      <a:pt x="15" y="14"/>
                      <a:pt x="15" y="13"/>
                      <a:pt x="15" y="12"/>
                    </a:cubicBezTo>
                    <a:cubicBezTo>
                      <a:pt x="15" y="11"/>
                      <a:pt x="15" y="10"/>
                      <a:pt x="15" y="9"/>
                    </a:cubicBezTo>
                    <a:cubicBezTo>
                      <a:pt x="15" y="9"/>
                      <a:pt x="15" y="8"/>
                      <a:pt x="15" y="7"/>
                    </a:cubicBezTo>
                    <a:cubicBezTo>
                      <a:pt x="15" y="6"/>
                      <a:pt x="14" y="6"/>
                      <a:pt x="14" y="5"/>
                    </a:cubicBezTo>
                    <a:cubicBezTo>
                      <a:pt x="14" y="4"/>
                      <a:pt x="14" y="4"/>
                      <a:pt x="13" y="3"/>
                    </a:cubicBezTo>
                    <a:cubicBezTo>
                      <a:pt x="13" y="3"/>
                      <a:pt x="12" y="2"/>
                      <a:pt x="12" y="2"/>
                    </a:cubicBezTo>
                    <a:cubicBezTo>
                      <a:pt x="12" y="1"/>
                      <a:pt x="11" y="1"/>
                      <a:pt x="11" y="1"/>
                    </a:cubicBezTo>
                    <a:cubicBezTo>
                      <a:pt x="10" y="1"/>
                      <a:pt x="10" y="0"/>
                      <a:pt x="9" y="0"/>
                    </a:cubicBezTo>
                    <a:cubicBezTo>
                      <a:pt x="9" y="0"/>
                      <a:pt x="8" y="0"/>
                      <a:pt x="7" y="0"/>
                    </a:cubicBezTo>
                    <a:cubicBezTo>
                      <a:pt x="7" y="0"/>
                      <a:pt x="6" y="0"/>
                      <a:pt x="6" y="0"/>
                    </a:cubicBezTo>
                    <a:cubicBezTo>
                      <a:pt x="5" y="1"/>
                      <a:pt x="5" y="1"/>
                      <a:pt x="4" y="1"/>
                    </a:cubicBezTo>
                    <a:cubicBezTo>
                      <a:pt x="4" y="1"/>
                      <a:pt x="3" y="2"/>
                      <a:pt x="3" y="2"/>
                    </a:cubicBezTo>
                    <a:cubicBezTo>
                      <a:pt x="2" y="3"/>
                      <a:pt x="2" y="3"/>
                      <a:pt x="2" y="4"/>
                    </a:cubicBezTo>
                    <a:cubicBezTo>
                      <a:pt x="1" y="4"/>
                      <a:pt x="1" y="5"/>
                      <a:pt x="1" y="5"/>
                    </a:cubicBezTo>
                    <a:cubicBezTo>
                      <a:pt x="0" y="6"/>
                      <a:pt x="0" y="7"/>
                      <a:pt x="0" y="7"/>
                    </a:cubicBezTo>
                    <a:cubicBezTo>
                      <a:pt x="0" y="8"/>
                      <a:pt x="0" y="9"/>
                      <a:pt x="0" y="10"/>
                    </a:cubicBezTo>
                    <a:cubicBezTo>
                      <a:pt x="0" y="10"/>
                      <a:pt x="0" y="11"/>
                      <a:pt x="0" y="12"/>
                    </a:cubicBezTo>
                    <a:cubicBezTo>
                      <a:pt x="0" y="13"/>
                      <a:pt x="0" y="14"/>
                      <a:pt x="0" y="15"/>
                    </a:cubicBezTo>
                    <a:cubicBezTo>
                      <a:pt x="0" y="16"/>
                      <a:pt x="0" y="16"/>
                      <a:pt x="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4" name="Freeform 8">
                <a:extLst>
                  <a:ext uri="{FF2B5EF4-FFF2-40B4-BE49-F238E27FC236}">
                    <a16:creationId xmlns:a16="http://schemas.microsoft.com/office/drawing/2014/main" id="{24C68EDD-36A5-4AD3-A3A1-30A75422A161}"/>
                  </a:ext>
                </a:extLst>
              </p:cNvPr>
              <p:cNvSpPr>
                <a:spLocks noEditPoints="1"/>
              </p:cNvSpPr>
              <p:nvPr/>
            </p:nvSpPr>
            <p:spPr bwMode="auto">
              <a:xfrm>
                <a:off x="4891088" y="3859213"/>
                <a:ext cx="244475" cy="419100"/>
              </a:xfrm>
              <a:custGeom>
                <a:avLst/>
                <a:gdLst>
                  <a:gd name="T0" fmla="*/ 0 w 56"/>
                  <a:gd name="T1" fmla="*/ 83 h 96"/>
                  <a:gd name="T2" fmla="*/ 56 w 56"/>
                  <a:gd name="T3" fmla="*/ 96 h 96"/>
                  <a:gd name="T4" fmla="*/ 56 w 56"/>
                  <a:gd name="T5" fmla="*/ 0 h 96"/>
                  <a:gd name="T6" fmla="*/ 0 w 56"/>
                  <a:gd name="T7" fmla="*/ 13 h 96"/>
                  <a:gd name="T8" fmla="*/ 0 w 56"/>
                  <a:gd name="T9" fmla="*/ 83 h 96"/>
                  <a:gd name="T10" fmla="*/ 12 w 56"/>
                  <a:gd name="T11" fmla="*/ 44 h 96"/>
                  <a:gd name="T12" fmla="*/ 13 w 56"/>
                  <a:gd name="T13" fmla="*/ 41 h 96"/>
                  <a:gd name="T14" fmla="*/ 14 w 56"/>
                  <a:gd name="T15" fmla="*/ 37 h 96"/>
                  <a:gd name="T16" fmla="*/ 16 w 56"/>
                  <a:gd name="T17" fmla="*/ 34 h 96"/>
                  <a:gd name="T18" fmla="*/ 18 w 56"/>
                  <a:gd name="T19" fmla="*/ 32 h 96"/>
                  <a:gd name="T20" fmla="*/ 21 w 56"/>
                  <a:gd name="T21" fmla="*/ 30 h 96"/>
                  <a:gd name="T22" fmla="*/ 24 w 56"/>
                  <a:gd name="T23" fmla="*/ 29 h 96"/>
                  <a:gd name="T24" fmla="*/ 28 w 56"/>
                  <a:gd name="T25" fmla="*/ 28 h 96"/>
                  <a:gd name="T26" fmla="*/ 31 w 56"/>
                  <a:gd name="T27" fmla="*/ 28 h 96"/>
                  <a:gd name="T28" fmla="*/ 34 w 56"/>
                  <a:gd name="T29" fmla="*/ 29 h 96"/>
                  <a:gd name="T30" fmla="*/ 37 w 56"/>
                  <a:gd name="T31" fmla="*/ 31 h 96"/>
                  <a:gd name="T32" fmla="*/ 39 w 56"/>
                  <a:gd name="T33" fmla="*/ 33 h 96"/>
                  <a:gd name="T34" fmla="*/ 41 w 56"/>
                  <a:gd name="T35" fmla="*/ 36 h 96"/>
                  <a:gd name="T36" fmla="*/ 43 w 56"/>
                  <a:gd name="T37" fmla="*/ 39 h 96"/>
                  <a:gd name="T38" fmla="*/ 44 w 56"/>
                  <a:gd name="T39" fmla="*/ 43 h 96"/>
                  <a:gd name="T40" fmla="*/ 44 w 56"/>
                  <a:gd name="T41" fmla="*/ 48 h 96"/>
                  <a:gd name="T42" fmla="*/ 44 w 56"/>
                  <a:gd name="T43" fmla="*/ 52 h 96"/>
                  <a:gd name="T44" fmla="*/ 43 w 56"/>
                  <a:gd name="T45" fmla="*/ 56 h 96"/>
                  <a:gd name="T46" fmla="*/ 41 w 56"/>
                  <a:gd name="T47" fmla="*/ 60 h 96"/>
                  <a:gd name="T48" fmla="*/ 39 w 56"/>
                  <a:gd name="T49" fmla="*/ 63 h 96"/>
                  <a:gd name="T50" fmla="*/ 37 w 56"/>
                  <a:gd name="T51" fmla="*/ 65 h 96"/>
                  <a:gd name="T52" fmla="*/ 34 w 56"/>
                  <a:gd name="T53" fmla="*/ 67 h 96"/>
                  <a:gd name="T54" fmla="*/ 31 w 56"/>
                  <a:gd name="T55" fmla="*/ 68 h 96"/>
                  <a:gd name="T56" fmla="*/ 27 w 56"/>
                  <a:gd name="T57" fmla="*/ 68 h 96"/>
                  <a:gd name="T58" fmla="*/ 24 w 56"/>
                  <a:gd name="T59" fmla="*/ 68 h 96"/>
                  <a:gd name="T60" fmla="*/ 21 w 56"/>
                  <a:gd name="T61" fmla="*/ 66 h 96"/>
                  <a:gd name="T62" fmla="*/ 18 w 56"/>
                  <a:gd name="T63" fmla="*/ 65 h 96"/>
                  <a:gd name="T64" fmla="*/ 16 w 56"/>
                  <a:gd name="T65" fmla="*/ 62 h 96"/>
                  <a:gd name="T66" fmla="*/ 14 w 56"/>
                  <a:gd name="T67" fmla="*/ 59 h 96"/>
                  <a:gd name="T68" fmla="*/ 13 w 56"/>
                  <a:gd name="T69" fmla="*/ 56 h 96"/>
                  <a:gd name="T70" fmla="*/ 12 w 56"/>
                  <a:gd name="T71" fmla="*/ 53 h 96"/>
                  <a:gd name="T72" fmla="*/ 12 w 56"/>
                  <a:gd name="T73" fmla="*/ 49 h 96"/>
                  <a:gd name="T74" fmla="*/ 12 w 56"/>
                  <a:gd name="T7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96">
                    <a:moveTo>
                      <a:pt x="0" y="83"/>
                    </a:moveTo>
                    <a:cubicBezTo>
                      <a:pt x="56" y="96"/>
                      <a:pt x="56" y="96"/>
                      <a:pt x="56" y="96"/>
                    </a:cubicBezTo>
                    <a:cubicBezTo>
                      <a:pt x="56" y="0"/>
                      <a:pt x="56" y="0"/>
                      <a:pt x="56" y="0"/>
                    </a:cubicBezTo>
                    <a:cubicBezTo>
                      <a:pt x="0" y="13"/>
                      <a:pt x="0" y="13"/>
                      <a:pt x="0" y="13"/>
                    </a:cubicBezTo>
                    <a:lnTo>
                      <a:pt x="0" y="83"/>
                    </a:lnTo>
                    <a:close/>
                    <a:moveTo>
                      <a:pt x="12" y="44"/>
                    </a:moveTo>
                    <a:cubicBezTo>
                      <a:pt x="12" y="43"/>
                      <a:pt x="13" y="42"/>
                      <a:pt x="13" y="41"/>
                    </a:cubicBezTo>
                    <a:cubicBezTo>
                      <a:pt x="13" y="40"/>
                      <a:pt x="14" y="38"/>
                      <a:pt x="14" y="37"/>
                    </a:cubicBezTo>
                    <a:cubicBezTo>
                      <a:pt x="15" y="36"/>
                      <a:pt x="15" y="35"/>
                      <a:pt x="16" y="34"/>
                    </a:cubicBezTo>
                    <a:cubicBezTo>
                      <a:pt x="17" y="33"/>
                      <a:pt x="18" y="33"/>
                      <a:pt x="18" y="32"/>
                    </a:cubicBezTo>
                    <a:cubicBezTo>
                      <a:pt x="19" y="31"/>
                      <a:pt x="20" y="30"/>
                      <a:pt x="21" y="30"/>
                    </a:cubicBezTo>
                    <a:cubicBezTo>
                      <a:pt x="22" y="29"/>
                      <a:pt x="23" y="29"/>
                      <a:pt x="24" y="29"/>
                    </a:cubicBezTo>
                    <a:cubicBezTo>
                      <a:pt x="25" y="28"/>
                      <a:pt x="26" y="28"/>
                      <a:pt x="28" y="28"/>
                    </a:cubicBezTo>
                    <a:cubicBezTo>
                      <a:pt x="29" y="28"/>
                      <a:pt x="30" y="28"/>
                      <a:pt x="31" y="28"/>
                    </a:cubicBezTo>
                    <a:cubicBezTo>
                      <a:pt x="32" y="28"/>
                      <a:pt x="33" y="29"/>
                      <a:pt x="34" y="29"/>
                    </a:cubicBezTo>
                    <a:cubicBezTo>
                      <a:pt x="35" y="30"/>
                      <a:pt x="36" y="30"/>
                      <a:pt x="37" y="31"/>
                    </a:cubicBezTo>
                    <a:cubicBezTo>
                      <a:pt x="38" y="31"/>
                      <a:pt x="39" y="32"/>
                      <a:pt x="39" y="33"/>
                    </a:cubicBezTo>
                    <a:cubicBezTo>
                      <a:pt x="40" y="34"/>
                      <a:pt x="41" y="35"/>
                      <a:pt x="41" y="36"/>
                    </a:cubicBezTo>
                    <a:cubicBezTo>
                      <a:pt x="42" y="37"/>
                      <a:pt x="42" y="38"/>
                      <a:pt x="43" y="39"/>
                    </a:cubicBezTo>
                    <a:cubicBezTo>
                      <a:pt x="43" y="41"/>
                      <a:pt x="44" y="42"/>
                      <a:pt x="44" y="43"/>
                    </a:cubicBezTo>
                    <a:cubicBezTo>
                      <a:pt x="44" y="45"/>
                      <a:pt x="44" y="46"/>
                      <a:pt x="44" y="48"/>
                    </a:cubicBezTo>
                    <a:cubicBezTo>
                      <a:pt x="44" y="49"/>
                      <a:pt x="44" y="51"/>
                      <a:pt x="44" y="52"/>
                    </a:cubicBezTo>
                    <a:cubicBezTo>
                      <a:pt x="44" y="54"/>
                      <a:pt x="43" y="55"/>
                      <a:pt x="43" y="56"/>
                    </a:cubicBezTo>
                    <a:cubicBezTo>
                      <a:pt x="42" y="58"/>
                      <a:pt x="42" y="59"/>
                      <a:pt x="41" y="60"/>
                    </a:cubicBezTo>
                    <a:cubicBezTo>
                      <a:pt x="41" y="61"/>
                      <a:pt x="40" y="62"/>
                      <a:pt x="39" y="63"/>
                    </a:cubicBezTo>
                    <a:cubicBezTo>
                      <a:pt x="38" y="64"/>
                      <a:pt x="37" y="65"/>
                      <a:pt x="37" y="65"/>
                    </a:cubicBezTo>
                    <a:cubicBezTo>
                      <a:pt x="36" y="66"/>
                      <a:pt x="35" y="67"/>
                      <a:pt x="34" y="67"/>
                    </a:cubicBezTo>
                    <a:cubicBezTo>
                      <a:pt x="33" y="67"/>
                      <a:pt x="32" y="68"/>
                      <a:pt x="31" y="68"/>
                    </a:cubicBezTo>
                    <a:cubicBezTo>
                      <a:pt x="29" y="68"/>
                      <a:pt x="28" y="68"/>
                      <a:pt x="27" y="68"/>
                    </a:cubicBezTo>
                    <a:cubicBezTo>
                      <a:pt x="26" y="68"/>
                      <a:pt x="25" y="68"/>
                      <a:pt x="24" y="68"/>
                    </a:cubicBezTo>
                    <a:cubicBezTo>
                      <a:pt x="23" y="67"/>
                      <a:pt x="22" y="67"/>
                      <a:pt x="21" y="66"/>
                    </a:cubicBezTo>
                    <a:cubicBezTo>
                      <a:pt x="20" y="66"/>
                      <a:pt x="19" y="65"/>
                      <a:pt x="18" y="65"/>
                    </a:cubicBezTo>
                    <a:cubicBezTo>
                      <a:pt x="18" y="64"/>
                      <a:pt x="17" y="63"/>
                      <a:pt x="16" y="62"/>
                    </a:cubicBezTo>
                    <a:cubicBezTo>
                      <a:pt x="15" y="61"/>
                      <a:pt x="15" y="60"/>
                      <a:pt x="14" y="59"/>
                    </a:cubicBezTo>
                    <a:cubicBezTo>
                      <a:pt x="14" y="58"/>
                      <a:pt x="13" y="57"/>
                      <a:pt x="13" y="56"/>
                    </a:cubicBezTo>
                    <a:cubicBezTo>
                      <a:pt x="13" y="55"/>
                      <a:pt x="12" y="54"/>
                      <a:pt x="12" y="53"/>
                    </a:cubicBezTo>
                    <a:cubicBezTo>
                      <a:pt x="12" y="51"/>
                      <a:pt x="12" y="50"/>
                      <a:pt x="12" y="49"/>
                    </a:cubicBezTo>
                    <a:cubicBezTo>
                      <a:pt x="12" y="47"/>
                      <a:pt x="12" y="46"/>
                      <a:pt x="1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30" name="Group 29">
              <a:extLst>
                <a:ext uri="{FF2B5EF4-FFF2-40B4-BE49-F238E27FC236}">
                  <a16:creationId xmlns:a16="http://schemas.microsoft.com/office/drawing/2014/main" id="{366AE7ED-A84F-4C1D-AFF0-A552B6AB119D}"/>
                </a:ext>
              </a:extLst>
            </p:cNvPr>
            <p:cNvGrpSpPr/>
            <p:nvPr/>
          </p:nvGrpSpPr>
          <p:grpSpPr>
            <a:xfrm>
              <a:off x="8148500" y="5790882"/>
              <a:ext cx="323850" cy="359549"/>
              <a:chOff x="4391025" y="5907088"/>
              <a:chExt cx="403226" cy="447675"/>
            </a:xfrm>
            <a:solidFill>
              <a:schemeClr val="bg1"/>
            </a:solidFill>
          </p:grpSpPr>
          <p:sp>
            <p:nvSpPr>
              <p:cNvPr id="23" name="Freeform 12">
                <a:extLst>
                  <a:ext uri="{FF2B5EF4-FFF2-40B4-BE49-F238E27FC236}">
                    <a16:creationId xmlns:a16="http://schemas.microsoft.com/office/drawing/2014/main" id="{5090FD16-90AA-41BC-9330-7F8B432D4D04}"/>
                  </a:ext>
                </a:extLst>
              </p:cNvPr>
              <p:cNvSpPr>
                <a:spLocks/>
              </p:cNvSpPr>
              <p:nvPr/>
            </p:nvSpPr>
            <p:spPr bwMode="auto">
              <a:xfrm>
                <a:off x="4391025" y="6046788"/>
                <a:ext cx="179388" cy="307975"/>
              </a:xfrm>
              <a:custGeom>
                <a:avLst/>
                <a:gdLst>
                  <a:gd name="T0" fmla="*/ 113 w 113"/>
                  <a:gd name="T1" fmla="*/ 66 h 194"/>
                  <a:gd name="T2" fmla="*/ 113 w 113"/>
                  <a:gd name="T3" fmla="*/ 194 h 194"/>
                  <a:gd name="T4" fmla="*/ 0 w 113"/>
                  <a:gd name="T5" fmla="*/ 130 h 194"/>
                  <a:gd name="T6" fmla="*/ 1 w 113"/>
                  <a:gd name="T7" fmla="*/ 0 h 194"/>
                  <a:gd name="T8" fmla="*/ 113 w 113"/>
                  <a:gd name="T9" fmla="*/ 66 h 194"/>
                </a:gdLst>
                <a:ahLst/>
                <a:cxnLst>
                  <a:cxn ang="0">
                    <a:pos x="T0" y="T1"/>
                  </a:cxn>
                  <a:cxn ang="0">
                    <a:pos x="T2" y="T3"/>
                  </a:cxn>
                  <a:cxn ang="0">
                    <a:pos x="T4" y="T5"/>
                  </a:cxn>
                  <a:cxn ang="0">
                    <a:pos x="T6" y="T7"/>
                  </a:cxn>
                  <a:cxn ang="0">
                    <a:pos x="T8" y="T9"/>
                  </a:cxn>
                </a:cxnLst>
                <a:rect l="0" t="0" r="r" b="b"/>
                <a:pathLst>
                  <a:path w="113" h="194">
                    <a:moveTo>
                      <a:pt x="113" y="66"/>
                    </a:moveTo>
                    <a:lnTo>
                      <a:pt x="113" y="194"/>
                    </a:lnTo>
                    <a:lnTo>
                      <a:pt x="0" y="130"/>
                    </a:lnTo>
                    <a:lnTo>
                      <a:pt x="1" y="0"/>
                    </a:lnTo>
                    <a:lnTo>
                      <a:pt x="11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6" name="Freeform 13">
                <a:extLst>
                  <a:ext uri="{FF2B5EF4-FFF2-40B4-BE49-F238E27FC236}">
                    <a16:creationId xmlns:a16="http://schemas.microsoft.com/office/drawing/2014/main" id="{FBF5CDB7-B550-4F46-8CA3-A9766F4AD0C0}"/>
                  </a:ext>
                </a:extLst>
              </p:cNvPr>
              <p:cNvSpPr>
                <a:spLocks/>
              </p:cNvSpPr>
              <p:nvPr/>
            </p:nvSpPr>
            <p:spPr bwMode="auto">
              <a:xfrm>
                <a:off x="4614863" y="6046788"/>
                <a:ext cx="179388" cy="307975"/>
              </a:xfrm>
              <a:custGeom>
                <a:avLst/>
                <a:gdLst>
                  <a:gd name="T0" fmla="*/ 1 w 113"/>
                  <a:gd name="T1" fmla="*/ 66 h 194"/>
                  <a:gd name="T2" fmla="*/ 0 w 113"/>
                  <a:gd name="T3" fmla="*/ 194 h 194"/>
                  <a:gd name="T4" fmla="*/ 113 w 113"/>
                  <a:gd name="T5" fmla="*/ 130 h 194"/>
                  <a:gd name="T6" fmla="*/ 113 w 113"/>
                  <a:gd name="T7" fmla="*/ 0 h 194"/>
                  <a:gd name="T8" fmla="*/ 1 w 113"/>
                  <a:gd name="T9" fmla="*/ 66 h 194"/>
                </a:gdLst>
                <a:ahLst/>
                <a:cxnLst>
                  <a:cxn ang="0">
                    <a:pos x="T0" y="T1"/>
                  </a:cxn>
                  <a:cxn ang="0">
                    <a:pos x="T2" y="T3"/>
                  </a:cxn>
                  <a:cxn ang="0">
                    <a:pos x="T4" y="T5"/>
                  </a:cxn>
                  <a:cxn ang="0">
                    <a:pos x="T6" y="T7"/>
                  </a:cxn>
                  <a:cxn ang="0">
                    <a:pos x="T8" y="T9"/>
                  </a:cxn>
                </a:cxnLst>
                <a:rect l="0" t="0" r="r" b="b"/>
                <a:pathLst>
                  <a:path w="113" h="194">
                    <a:moveTo>
                      <a:pt x="1" y="66"/>
                    </a:moveTo>
                    <a:lnTo>
                      <a:pt x="0" y="194"/>
                    </a:lnTo>
                    <a:lnTo>
                      <a:pt x="113" y="130"/>
                    </a:lnTo>
                    <a:lnTo>
                      <a:pt x="113" y="0"/>
                    </a:lnTo>
                    <a:lnTo>
                      <a:pt x="1"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9" name="Freeform 14">
                <a:extLst>
                  <a:ext uri="{FF2B5EF4-FFF2-40B4-BE49-F238E27FC236}">
                    <a16:creationId xmlns:a16="http://schemas.microsoft.com/office/drawing/2014/main" id="{351B695D-DF22-422F-8AEB-836270252078}"/>
                  </a:ext>
                </a:extLst>
              </p:cNvPr>
              <p:cNvSpPr>
                <a:spLocks/>
              </p:cNvSpPr>
              <p:nvPr/>
            </p:nvSpPr>
            <p:spPr bwMode="auto">
              <a:xfrm>
                <a:off x="4413250" y="5907088"/>
                <a:ext cx="360363" cy="204788"/>
              </a:xfrm>
              <a:custGeom>
                <a:avLst/>
                <a:gdLst>
                  <a:gd name="T0" fmla="*/ 113 w 227"/>
                  <a:gd name="T1" fmla="*/ 129 h 129"/>
                  <a:gd name="T2" fmla="*/ 0 w 227"/>
                  <a:gd name="T3" fmla="*/ 64 h 129"/>
                  <a:gd name="T4" fmla="*/ 113 w 227"/>
                  <a:gd name="T5" fmla="*/ 0 h 129"/>
                  <a:gd name="T6" fmla="*/ 227 w 227"/>
                  <a:gd name="T7" fmla="*/ 64 h 129"/>
                  <a:gd name="T8" fmla="*/ 113 w 227"/>
                  <a:gd name="T9" fmla="*/ 129 h 129"/>
                </a:gdLst>
                <a:ahLst/>
                <a:cxnLst>
                  <a:cxn ang="0">
                    <a:pos x="T0" y="T1"/>
                  </a:cxn>
                  <a:cxn ang="0">
                    <a:pos x="T2" y="T3"/>
                  </a:cxn>
                  <a:cxn ang="0">
                    <a:pos x="T4" y="T5"/>
                  </a:cxn>
                  <a:cxn ang="0">
                    <a:pos x="T6" y="T7"/>
                  </a:cxn>
                  <a:cxn ang="0">
                    <a:pos x="T8" y="T9"/>
                  </a:cxn>
                </a:cxnLst>
                <a:rect l="0" t="0" r="r" b="b"/>
                <a:pathLst>
                  <a:path w="227" h="129">
                    <a:moveTo>
                      <a:pt x="113" y="129"/>
                    </a:moveTo>
                    <a:lnTo>
                      <a:pt x="0" y="64"/>
                    </a:lnTo>
                    <a:lnTo>
                      <a:pt x="113" y="0"/>
                    </a:lnTo>
                    <a:lnTo>
                      <a:pt x="227" y="64"/>
                    </a:lnTo>
                    <a:lnTo>
                      <a:pt x="113"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40" name="Group 39">
              <a:extLst>
                <a:ext uri="{FF2B5EF4-FFF2-40B4-BE49-F238E27FC236}">
                  <a16:creationId xmlns:a16="http://schemas.microsoft.com/office/drawing/2014/main" id="{B757089D-CA61-4DFF-B610-E94E4D65DA6D}"/>
                </a:ext>
              </a:extLst>
            </p:cNvPr>
            <p:cNvGrpSpPr/>
            <p:nvPr/>
          </p:nvGrpSpPr>
          <p:grpSpPr>
            <a:xfrm>
              <a:off x="8074435" y="3212306"/>
              <a:ext cx="441279" cy="599829"/>
              <a:chOff x="4702176" y="2840038"/>
              <a:chExt cx="631825" cy="858838"/>
            </a:xfrm>
          </p:grpSpPr>
          <p:sp>
            <p:nvSpPr>
              <p:cNvPr id="38" name="Freeform 18">
                <a:extLst>
                  <a:ext uri="{FF2B5EF4-FFF2-40B4-BE49-F238E27FC236}">
                    <a16:creationId xmlns:a16="http://schemas.microsoft.com/office/drawing/2014/main" id="{0F6A91DC-71C3-4424-98B1-89A410665FA4}"/>
                  </a:ext>
                </a:extLst>
              </p:cNvPr>
              <p:cNvSpPr>
                <a:spLocks/>
              </p:cNvSpPr>
              <p:nvPr/>
            </p:nvSpPr>
            <p:spPr bwMode="auto">
              <a:xfrm>
                <a:off x="4962526" y="3136901"/>
                <a:ext cx="115888" cy="123825"/>
              </a:xfrm>
              <a:custGeom>
                <a:avLst/>
                <a:gdLst>
                  <a:gd name="T0" fmla="*/ 14 w 27"/>
                  <a:gd name="T1" fmla="*/ 0 h 29"/>
                  <a:gd name="T2" fmla="*/ 4 w 27"/>
                  <a:gd name="T3" fmla="*/ 4 h 29"/>
                  <a:gd name="T4" fmla="*/ 0 w 27"/>
                  <a:gd name="T5" fmla="*/ 15 h 29"/>
                  <a:gd name="T6" fmla="*/ 0 w 27"/>
                  <a:gd name="T7" fmla="*/ 29 h 29"/>
                  <a:gd name="T8" fmla="*/ 6 w 27"/>
                  <a:gd name="T9" fmla="*/ 29 h 29"/>
                  <a:gd name="T10" fmla="*/ 26 w 27"/>
                  <a:gd name="T11" fmla="*/ 29 h 29"/>
                  <a:gd name="T12" fmla="*/ 27 w 27"/>
                  <a:gd name="T13" fmla="*/ 15 h 29"/>
                  <a:gd name="T14" fmla="*/ 24 w 27"/>
                  <a:gd name="T15" fmla="*/ 6 h 29"/>
                  <a:gd name="T16" fmla="*/ 23 w 27"/>
                  <a:gd name="T17" fmla="*/ 4 h 29"/>
                  <a:gd name="T18" fmla="*/ 14 w 27"/>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9">
                    <a:moveTo>
                      <a:pt x="14" y="0"/>
                    </a:moveTo>
                    <a:cubicBezTo>
                      <a:pt x="10" y="0"/>
                      <a:pt x="7" y="2"/>
                      <a:pt x="4" y="4"/>
                    </a:cubicBezTo>
                    <a:cubicBezTo>
                      <a:pt x="2" y="7"/>
                      <a:pt x="0" y="11"/>
                      <a:pt x="0" y="15"/>
                    </a:cubicBezTo>
                    <a:cubicBezTo>
                      <a:pt x="0" y="29"/>
                      <a:pt x="0" y="29"/>
                      <a:pt x="0" y="29"/>
                    </a:cubicBezTo>
                    <a:cubicBezTo>
                      <a:pt x="6" y="29"/>
                      <a:pt x="6" y="29"/>
                      <a:pt x="6" y="29"/>
                    </a:cubicBezTo>
                    <a:cubicBezTo>
                      <a:pt x="26" y="29"/>
                      <a:pt x="26" y="29"/>
                      <a:pt x="26" y="29"/>
                    </a:cubicBezTo>
                    <a:cubicBezTo>
                      <a:pt x="26" y="29"/>
                      <a:pt x="26" y="15"/>
                      <a:pt x="27" y="15"/>
                    </a:cubicBezTo>
                    <a:cubicBezTo>
                      <a:pt x="27" y="12"/>
                      <a:pt x="26" y="9"/>
                      <a:pt x="24" y="6"/>
                    </a:cubicBezTo>
                    <a:cubicBezTo>
                      <a:pt x="24" y="6"/>
                      <a:pt x="23" y="5"/>
                      <a:pt x="23" y="4"/>
                    </a:cubicBezTo>
                    <a:cubicBezTo>
                      <a:pt x="20" y="2"/>
                      <a:pt x="17" y="0"/>
                      <a:pt x="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9" name="Freeform 19">
                <a:extLst>
                  <a:ext uri="{FF2B5EF4-FFF2-40B4-BE49-F238E27FC236}">
                    <a16:creationId xmlns:a16="http://schemas.microsoft.com/office/drawing/2014/main" id="{702456D0-5E0D-4569-A662-C542AE740845}"/>
                  </a:ext>
                </a:extLst>
              </p:cNvPr>
              <p:cNvSpPr>
                <a:spLocks noEditPoints="1"/>
              </p:cNvSpPr>
              <p:nvPr/>
            </p:nvSpPr>
            <p:spPr bwMode="auto">
              <a:xfrm>
                <a:off x="4702176" y="2840038"/>
                <a:ext cx="631825" cy="858838"/>
              </a:xfrm>
              <a:custGeom>
                <a:avLst/>
                <a:gdLst>
                  <a:gd name="T0" fmla="*/ 44 w 146"/>
                  <a:gd name="T1" fmla="*/ 143 h 200"/>
                  <a:gd name="T2" fmla="*/ 41 w 146"/>
                  <a:gd name="T3" fmla="*/ 139 h 200"/>
                  <a:gd name="T4" fmla="*/ 41 w 146"/>
                  <a:gd name="T5" fmla="*/ 131 h 200"/>
                  <a:gd name="T6" fmla="*/ 41 w 146"/>
                  <a:gd name="T7" fmla="*/ 102 h 200"/>
                  <a:gd name="T8" fmla="*/ 44 w 146"/>
                  <a:gd name="T9" fmla="*/ 99 h 200"/>
                  <a:gd name="T10" fmla="*/ 48 w 146"/>
                  <a:gd name="T11" fmla="*/ 99 h 200"/>
                  <a:gd name="T12" fmla="*/ 48 w 146"/>
                  <a:gd name="T13" fmla="*/ 84 h 200"/>
                  <a:gd name="T14" fmla="*/ 56 w 146"/>
                  <a:gd name="T15" fmla="*/ 66 h 200"/>
                  <a:gd name="T16" fmla="*/ 73 w 146"/>
                  <a:gd name="T17" fmla="*/ 58 h 200"/>
                  <a:gd name="T18" fmla="*/ 91 w 146"/>
                  <a:gd name="T19" fmla="*/ 66 h 200"/>
                  <a:gd name="T20" fmla="*/ 91 w 146"/>
                  <a:gd name="T21" fmla="*/ 66 h 200"/>
                  <a:gd name="T22" fmla="*/ 98 w 146"/>
                  <a:gd name="T23" fmla="*/ 84 h 200"/>
                  <a:gd name="T24" fmla="*/ 98 w 146"/>
                  <a:gd name="T25" fmla="*/ 98 h 200"/>
                  <a:gd name="T26" fmla="*/ 102 w 146"/>
                  <a:gd name="T27" fmla="*/ 98 h 200"/>
                  <a:gd name="T28" fmla="*/ 105 w 146"/>
                  <a:gd name="T29" fmla="*/ 102 h 200"/>
                  <a:gd name="T30" fmla="*/ 105 w 146"/>
                  <a:gd name="T31" fmla="*/ 139 h 200"/>
                  <a:gd name="T32" fmla="*/ 102 w 146"/>
                  <a:gd name="T33" fmla="*/ 143 h 200"/>
                  <a:gd name="T34" fmla="*/ 44 w 146"/>
                  <a:gd name="T35" fmla="*/ 143 h 200"/>
                  <a:gd name="T36" fmla="*/ 73 w 146"/>
                  <a:gd name="T37" fmla="*/ 0 h 200"/>
                  <a:gd name="T38" fmla="*/ 0 w 146"/>
                  <a:gd name="T39" fmla="*/ 25 h 200"/>
                  <a:gd name="T40" fmla="*/ 0 w 146"/>
                  <a:gd name="T41" fmla="*/ 127 h 200"/>
                  <a:gd name="T42" fmla="*/ 16 w 146"/>
                  <a:gd name="T43" fmla="*/ 161 h 200"/>
                  <a:gd name="T44" fmla="*/ 73 w 146"/>
                  <a:gd name="T45" fmla="*/ 200 h 200"/>
                  <a:gd name="T46" fmla="*/ 146 w 146"/>
                  <a:gd name="T47" fmla="*/ 127 h 200"/>
                  <a:gd name="T48" fmla="*/ 146 w 146"/>
                  <a:gd name="T49" fmla="*/ 25 h 200"/>
                  <a:gd name="T50" fmla="*/ 125 w 146"/>
                  <a:gd name="T51" fmla="*/ 24 h 200"/>
                  <a:gd name="T52" fmla="*/ 73 w 146"/>
                  <a:gd name="T5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6" h="200">
                    <a:moveTo>
                      <a:pt x="44" y="143"/>
                    </a:moveTo>
                    <a:cubicBezTo>
                      <a:pt x="42" y="143"/>
                      <a:pt x="41" y="141"/>
                      <a:pt x="41" y="139"/>
                    </a:cubicBezTo>
                    <a:cubicBezTo>
                      <a:pt x="41" y="131"/>
                      <a:pt x="41" y="131"/>
                      <a:pt x="41" y="131"/>
                    </a:cubicBezTo>
                    <a:cubicBezTo>
                      <a:pt x="41" y="102"/>
                      <a:pt x="41" y="102"/>
                      <a:pt x="41" y="102"/>
                    </a:cubicBezTo>
                    <a:cubicBezTo>
                      <a:pt x="41" y="100"/>
                      <a:pt x="42" y="99"/>
                      <a:pt x="44" y="99"/>
                    </a:cubicBezTo>
                    <a:cubicBezTo>
                      <a:pt x="48" y="99"/>
                      <a:pt x="48" y="99"/>
                      <a:pt x="48" y="99"/>
                    </a:cubicBezTo>
                    <a:cubicBezTo>
                      <a:pt x="48" y="84"/>
                      <a:pt x="48" y="84"/>
                      <a:pt x="48" y="84"/>
                    </a:cubicBezTo>
                    <a:cubicBezTo>
                      <a:pt x="48" y="77"/>
                      <a:pt x="51" y="71"/>
                      <a:pt x="56" y="66"/>
                    </a:cubicBezTo>
                    <a:cubicBezTo>
                      <a:pt x="60" y="61"/>
                      <a:pt x="66" y="58"/>
                      <a:pt x="73" y="58"/>
                    </a:cubicBezTo>
                    <a:cubicBezTo>
                      <a:pt x="80" y="58"/>
                      <a:pt x="86" y="61"/>
                      <a:pt x="91" y="66"/>
                    </a:cubicBezTo>
                    <a:cubicBezTo>
                      <a:pt x="91" y="66"/>
                      <a:pt x="91" y="66"/>
                      <a:pt x="91" y="66"/>
                    </a:cubicBezTo>
                    <a:cubicBezTo>
                      <a:pt x="96" y="71"/>
                      <a:pt x="98" y="77"/>
                      <a:pt x="98" y="84"/>
                    </a:cubicBezTo>
                    <a:cubicBezTo>
                      <a:pt x="98" y="98"/>
                      <a:pt x="98" y="98"/>
                      <a:pt x="98" y="98"/>
                    </a:cubicBezTo>
                    <a:cubicBezTo>
                      <a:pt x="102" y="98"/>
                      <a:pt x="102" y="98"/>
                      <a:pt x="102" y="98"/>
                    </a:cubicBezTo>
                    <a:cubicBezTo>
                      <a:pt x="104" y="98"/>
                      <a:pt x="106" y="99"/>
                      <a:pt x="105" y="102"/>
                    </a:cubicBezTo>
                    <a:cubicBezTo>
                      <a:pt x="105" y="139"/>
                      <a:pt x="105" y="139"/>
                      <a:pt x="105" y="139"/>
                    </a:cubicBezTo>
                    <a:cubicBezTo>
                      <a:pt x="105" y="141"/>
                      <a:pt x="104" y="143"/>
                      <a:pt x="102" y="143"/>
                    </a:cubicBezTo>
                    <a:cubicBezTo>
                      <a:pt x="44" y="143"/>
                      <a:pt x="44" y="143"/>
                      <a:pt x="44" y="143"/>
                    </a:cubicBezTo>
                    <a:moveTo>
                      <a:pt x="73" y="0"/>
                    </a:moveTo>
                    <a:cubicBezTo>
                      <a:pt x="73" y="0"/>
                      <a:pt x="63" y="25"/>
                      <a:pt x="0" y="25"/>
                    </a:cubicBezTo>
                    <a:cubicBezTo>
                      <a:pt x="0" y="127"/>
                      <a:pt x="0" y="127"/>
                      <a:pt x="0" y="127"/>
                    </a:cubicBezTo>
                    <a:cubicBezTo>
                      <a:pt x="0" y="140"/>
                      <a:pt x="7" y="151"/>
                      <a:pt x="16" y="161"/>
                    </a:cubicBezTo>
                    <a:cubicBezTo>
                      <a:pt x="38" y="184"/>
                      <a:pt x="73" y="200"/>
                      <a:pt x="73" y="200"/>
                    </a:cubicBezTo>
                    <a:cubicBezTo>
                      <a:pt x="73" y="200"/>
                      <a:pt x="146" y="168"/>
                      <a:pt x="146" y="127"/>
                    </a:cubicBezTo>
                    <a:cubicBezTo>
                      <a:pt x="146" y="25"/>
                      <a:pt x="146" y="25"/>
                      <a:pt x="146" y="25"/>
                    </a:cubicBezTo>
                    <a:cubicBezTo>
                      <a:pt x="138" y="25"/>
                      <a:pt x="131" y="25"/>
                      <a:pt x="125" y="24"/>
                    </a:cubicBezTo>
                    <a:cubicBezTo>
                      <a:pt x="81" y="19"/>
                      <a:pt x="73" y="0"/>
                      <a:pt x="7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52" name="Group 51">
              <a:extLst>
                <a:ext uri="{FF2B5EF4-FFF2-40B4-BE49-F238E27FC236}">
                  <a16:creationId xmlns:a16="http://schemas.microsoft.com/office/drawing/2014/main" id="{DED14B2B-B40E-4FCA-BB15-0ACF4972751E}"/>
                </a:ext>
              </a:extLst>
            </p:cNvPr>
            <p:cNvGrpSpPr/>
            <p:nvPr/>
          </p:nvGrpSpPr>
          <p:grpSpPr>
            <a:xfrm rot="3935942">
              <a:off x="7915651" y="4341029"/>
              <a:ext cx="788321" cy="785313"/>
              <a:chOff x="4702176" y="3000375"/>
              <a:chExt cx="415925" cy="414338"/>
            </a:xfrm>
            <a:solidFill>
              <a:schemeClr val="accent1"/>
            </a:solidFill>
          </p:grpSpPr>
          <p:sp>
            <p:nvSpPr>
              <p:cNvPr id="44" name="Freeform 23">
                <a:extLst>
                  <a:ext uri="{FF2B5EF4-FFF2-40B4-BE49-F238E27FC236}">
                    <a16:creationId xmlns:a16="http://schemas.microsoft.com/office/drawing/2014/main" id="{62CEAC97-9732-4377-93A2-3BFAE8AE8778}"/>
                  </a:ext>
                </a:extLst>
              </p:cNvPr>
              <p:cNvSpPr>
                <a:spLocks/>
              </p:cNvSpPr>
              <p:nvPr/>
            </p:nvSpPr>
            <p:spPr bwMode="auto">
              <a:xfrm>
                <a:off x="4702176" y="3070225"/>
                <a:ext cx="109538" cy="134938"/>
              </a:xfrm>
              <a:custGeom>
                <a:avLst/>
                <a:gdLst>
                  <a:gd name="T0" fmla="*/ 25 w 25"/>
                  <a:gd name="T1" fmla="*/ 12 h 31"/>
                  <a:gd name="T2" fmla="*/ 13 w 25"/>
                  <a:gd name="T3" fmla="*/ 0 h 31"/>
                  <a:gd name="T4" fmla="*/ 0 w 25"/>
                  <a:gd name="T5" fmla="*/ 31 h 31"/>
                  <a:gd name="T6" fmla="*/ 18 w 25"/>
                  <a:gd name="T7" fmla="*/ 31 h 31"/>
                  <a:gd name="T8" fmla="*/ 25 w 25"/>
                  <a:gd name="T9" fmla="*/ 12 h 31"/>
                </a:gdLst>
                <a:ahLst/>
                <a:cxnLst>
                  <a:cxn ang="0">
                    <a:pos x="T0" y="T1"/>
                  </a:cxn>
                  <a:cxn ang="0">
                    <a:pos x="T2" y="T3"/>
                  </a:cxn>
                  <a:cxn ang="0">
                    <a:pos x="T4" y="T5"/>
                  </a:cxn>
                  <a:cxn ang="0">
                    <a:pos x="T6" y="T7"/>
                  </a:cxn>
                  <a:cxn ang="0">
                    <a:pos x="T8" y="T9"/>
                  </a:cxn>
                </a:cxnLst>
                <a:rect l="0" t="0" r="r" b="b"/>
                <a:pathLst>
                  <a:path w="25" h="31">
                    <a:moveTo>
                      <a:pt x="25" y="12"/>
                    </a:moveTo>
                    <a:cubicBezTo>
                      <a:pt x="13" y="0"/>
                      <a:pt x="13" y="0"/>
                      <a:pt x="13" y="0"/>
                    </a:cubicBezTo>
                    <a:cubicBezTo>
                      <a:pt x="5" y="8"/>
                      <a:pt x="1" y="19"/>
                      <a:pt x="0" y="31"/>
                    </a:cubicBezTo>
                    <a:cubicBezTo>
                      <a:pt x="18" y="31"/>
                      <a:pt x="18" y="31"/>
                      <a:pt x="18" y="31"/>
                    </a:cubicBezTo>
                    <a:cubicBezTo>
                      <a:pt x="18" y="24"/>
                      <a:pt x="21" y="17"/>
                      <a:pt x="2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5" name="Freeform 24">
                <a:extLst>
                  <a:ext uri="{FF2B5EF4-FFF2-40B4-BE49-F238E27FC236}">
                    <a16:creationId xmlns:a16="http://schemas.microsoft.com/office/drawing/2014/main" id="{058EC26F-A74D-4AEC-9253-1872AF9A5D16}"/>
                  </a:ext>
                </a:extLst>
              </p:cNvPr>
              <p:cNvSpPr>
                <a:spLocks/>
              </p:cNvSpPr>
              <p:nvPr/>
            </p:nvSpPr>
            <p:spPr bwMode="auto">
              <a:xfrm>
                <a:off x="4768851" y="3000375"/>
                <a:ext cx="134938" cy="112713"/>
              </a:xfrm>
              <a:custGeom>
                <a:avLst/>
                <a:gdLst>
                  <a:gd name="T0" fmla="*/ 13 w 31"/>
                  <a:gd name="T1" fmla="*/ 26 h 26"/>
                  <a:gd name="T2" fmla="*/ 31 w 31"/>
                  <a:gd name="T3" fmla="*/ 18 h 26"/>
                  <a:gd name="T4" fmla="*/ 31 w 31"/>
                  <a:gd name="T5" fmla="*/ 0 h 26"/>
                  <a:gd name="T6" fmla="*/ 0 w 31"/>
                  <a:gd name="T7" fmla="*/ 13 h 26"/>
                  <a:gd name="T8" fmla="*/ 13 w 31"/>
                  <a:gd name="T9" fmla="*/ 26 h 26"/>
                </a:gdLst>
                <a:ahLst/>
                <a:cxnLst>
                  <a:cxn ang="0">
                    <a:pos x="T0" y="T1"/>
                  </a:cxn>
                  <a:cxn ang="0">
                    <a:pos x="T2" y="T3"/>
                  </a:cxn>
                  <a:cxn ang="0">
                    <a:pos x="T4" y="T5"/>
                  </a:cxn>
                  <a:cxn ang="0">
                    <a:pos x="T6" y="T7"/>
                  </a:cxn>
                  <a:cxn ang="0">
                    <a:pos x="T8" y="T9"/>
                  </a:cxn>
                </a:cxnLst>
                <a:rect l="0" t="0" r="r" b="b"/>
                <a:pathLst>
                  <a:path w="31" h="26">
                    <a:moveTo>
                      <a:pt x="13" y="26"/>
                    </a:moveTo>
                    <a:cubicBezTo>
                      <a:pt x="18" y="21"/>
                      <a:pt x="24" y="18"/>
                      <a:pt x="31" y="18"/>
                    </a:cubicBezTo>
                    <a:cubicBezTo>
                      <a:pt x="31" y="0"/>
                      <a:pt x="31" y="0"/>
                      <a:pt x="31" y="0"/>
                    </a:cubicBezTo>
                    <a:cubicBezTo>
                      <a:pt x="19" y="1"/>
                      <a:pt x="8" y="6"/>
                      <a:pt x="0" y="13"/>
                    </a:cubicBez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6" name="Freeform 25">
                <a:extLst>
                  <a:ext uri="{FF2B5EF4-FFF2-40B4-BE49-F238E27FC236}">
                    <a16:creationId xmlns:a16="http://schemas.microsoft.com/office/drawing/2014/main" id="{5D09D174-0F8C-4933-B952-48C92E2E6A2A}"/>
                  </a:ext>
                </a:extLst>
              </p:cNvPr>
              <p:cNvSpPr>
                <a:spLocks/>
              </p:cNvSpPr>
              <p:nvPr/>
            </p:nvSpPr>
            <p:spPr bwMode="auto">
              <a:xfrm>
                <a:off x="4702176" y="3217863"/>
                <a:ext cx="114300" cy="131763"/>
              </a:xfrm>
              <a:custGeom>
                <a:avLst/>
                <a:gdLst>
                  <a:gd name="T0" fmla="*/ 18 w 26"/>
                  <a:gd name="T1" fmla="*/ 0 h 30"/>
                  <a:gd name="T2" fmla="*/ 0 w 26"/>
                  <a:gd name="T3" fmla="*/ 0 h 30"/>
                  <a:gd name="T4" fmla="*/ 13 w 26"/>
                  <a:gd name="T5" fmla="*/ 30 h 30"/>
                  <a:gd name="T6" fmla="*/ 26 w 26"/>
                  <a:gd name="T7" fmla="*/ 18 h 30"/>
                  <a:gd name="T8" fmla="*/ 18 w 26"/>
                  <a:gd name="T9" fmla="*/ 0 h 30"/>
                </a:gdLst>
                <a:ahLst/>
                <a:cxnLst>
                  <a:cxn ang="0">
                    <a:pos x="T0" y="T1"/>
                  </a:cxn>
                  <a:cxn ang="0">
                    <a:pos x="T2" y="T3"/>
                  </a:cxn>
                  <a:cxn ang="0">
                    <a:pos x="T4" y="T5"/>
                  </a:cxn>
                  <a:cxn ang="0">
                    <a:pos x="T6" y="T7"/>
                  </a:cxn>
                  <a:cxn ang="0">
                    <a:pos x="T8" y="T9"/>
                  </a:cxn>
                </a:cxnLst>
                <a:rect l="0" t="0" r="r" b="b"/>
                <a:pathLst>
                  <a:path w="26" h="30">
                    <a:moveTo>
                      <a:pt x="18" y="0"/>
                    </a:moveTo>
                    <a:cubicBezTo>
                      <a:pt x="0" y="0"/>
                      <a:pt x="0" y="0"/>
                      <a:pt x="0" y="0"/>
                    </a:cubicBezTo>
                    <a:cubicBezTo>
                      <a:pt x="1" y="12"/>
                      <a:pt x="6" y="22"/>
                      <a:pt x="13" y="30"/>
                    </a:cubicBezTo>
                    <a:cubicBezTo>
                      <a:pt x="26" y="18"/>
                      <a:pt x="26" y="18"/>
                      <a:pt x="26" y="18"/>
                    </a:cubicBezTo>
                    <a:cubicBezTo>
                      <a:pt x="22" y="13"/>
                      <a:pt x="19" y="7"/>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7" name="Freeform 26">
                <a:extLst>
                  <a:ext uri="{FF2B5EF4-FFF2-40B4-BE49-F238E27FC236}">
                    <a16:creationId xmlns:a16="http://schemas.microsoft.com/office/drawing/2014/main" id="{5AF94954-8406-49E4-805D-38F5FEE5FD2D}"/>
                  </a:ext>
                </a:extLst>
              </p:cNvPr>
              <p:cNvSpPr>
                <a:spLocks/>
              </p:cNvSpPr>
              <p:nvPr/>
            </p:nvSpPr>
            <p:spPr bwMode="auto">
              <a:xfrm>
                <a:off x="4772026" y="3305175"/>
                <a:ext cx="131763" cy="109538"/>
              </a:xfrm>
              <a:custGeom>
                <a:avLst/>
                <a:gdLst>
                  <a:gd name="T0" fmla="*/ 0 w 30"/>
                  <a:gd name="T1" fmla="*/ 13 h 25"/>
                  <a:gd name="T2" fmla="*/ 30 w 30"/>
                  <a:gd name="T3" fmla="*/ 25 h 25"/>
                  <a:gd name="T4" fmla="*/ 30 w 30"/>
                  <a:gd name="T5" fmla="*/ 7 h 25"/>
                  <a:gd name="T6" fmla="*/ 12 w 30"/>
                  <a:gd name="T7" fmla="*/ 0 h 25"/>
                  <a:gd name="T8" fmla="*/ 0 w 30"/>
                  <a:gd name="T9" fmla="*/ 13 h 25"/>
                </a:gdLst>
                <a:ahLst/>
                <a:cxnLst>
                  <a:cxn ang="0">
                    <a:pos x="T0" y="T1"/>
                  </a:cxn>
                  <a:cxn ang="0">
                    <a:pos x="T2" y="T3"/>
                  </a:cxn>
                  <a:cxn ang="0">
                    <a:pos x="T4" y="T5"/>
                  </a:cxn>
                  <a:cxn ang="0">
                    <a:pos x="T6" y="T7"/>
                  </a:cxn>
                  <a:cxn ang="0">
                    <a:pos x="T8" y="T9"/>
                  </a:cxn>
                </a:cxnLst>
                <a:rect l="0" t="0" r="r" b="b"/>
                <a:pathLst>
                  <a:path w="30" h="25">
                    <a:moveTo>
                      <a:pt x="0" y="13"/>
                    </a:moveTo>
                    <a:cubicBezTo>
                      <a:pt x="8" y="20"/>
                      <a:pt x="18" y="25"/>
                      <a:pt x="30" y="25"/>
                    </a:cubicBezTo>
                    <a:cubicBezTo>
                      <a:pt x="30" y="7"/>
                      <a:pt x="30" y="7"/>
                      <a:pt x="30" y="7"/>
                    </a:cubicBezTo>
                    <a:cubicBezTo>
                      <a:pt x="23" y="7"/>
                      <a:pt x="17" y="4"/>
                      <a:pt x="12" y="0"/>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8" name="Freeform 27">
                <a:extLst>
                  <a:ext uri="{FF2B5EF4-FFF2-40B4-BE49-F238E27FC236}">
                    <a16:creationId xmlns:a16="http://schemas.microsoft.com/office/drawing/2014/main" id="{0A98ECB3-6227-4037-94C6-81132647693F}"/>
                  </a:ext>
                </a:extLst>
              </p:cNvPr>
              <p:cNvSpPr>
                <a:spLocks/>
              </p:cNvSpPr>
              <p:nvPr/>
            </p:nvSpPr>
            <p:spPr bwMode="auto">
              <a:xfrm>
                <a:off x="4921251" y="3305175"/>
                <a:ext cx="130175" cy="109538"/>
              </a:xfrm>
              <a:custGeom>
                <a:avLst/>
                <a:gdLst>
                  <a:gd name="T0" fmla="*/ 0 w 30"/>
                  <a:gd name="T1" fmla="*/ 7 h 25"/>
                  <a:gd name="T2" fmla="*/ 0 w 30"/>
                  <a:gd name="T3" fmla="*/ 25 h 25"/>
                  <a:gd name="T4" fmla="*/ 30 w 30"/>
                  <a:gd name="T5" fmla="*/ 13 h 25"/>
                  <a:gd name="T6" fmla="*/ 17 w 30"/>
                  <a:gd name="T7" fmla="*/ 0 h 25"/>
                  <a:gd name="T8" fmla="*/ 0 w 30"/>
                  <a:gd name="T9" fmla="*/ 7 h 25"/>
                </a:gdLst>
                <a:ahLst/>
                <a:cxnLst>
                  <a:cxn ang="0">
                    <a:pos x="T0" y="T1"/>
                  </a:cxn>
                  <a:cxn ang="0">
                    <a:pos x="T2" y="T3"/>
                  </a:cxn>
                  <a:cxn ang="0">
                    <a:pos x="T4" y="T5"/>
                  </a:cxn>
                  <a:cxn ang="0">
                    <a:pos x="T6" y="T7"/>
                  </a:cxn>
                  <a:cxn ang="0">
                    <a:pos x="T8" y="T9"/>
                  </a:cxn>
                </a:cxnLst>
                <a:rect l="0" t="0" r="r" b="b"/>
                <a:pathLst>
                  <a:path w="30" h="25">
                    <a:moveTo>
                      <a:pt x="0" y="7"/>
                    </a:moveTo>
                    <a:cubicBezTo>
                      <a:pt x="0" y="25"/>
                      <a:pt x="0" y="25"/>
                      <a:pt x="0" y="25"/>
                    </a:cubicBezTo>
                    <a:cubicBezTo>
                      <a:pt x="11" y="25"/>
                      <a:pt x="22" y="20"/>
                      <a:pt x="30" y="13"/>
                    </a:cubicBezTo>
                    <a:cubicBezTo>
                      <a:pt x="17" y="0"/>
                      <a:pt x="17" y="0"/>
                      <a:pt x="17" y="0"/>
                    </a:cubicBezTo>
                    <a:cubicBezTo>
                      <a:pt x="12" y="4"/>
                      <a:pt x="6"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9" name="Freeform 28">
                <a:extLst>
                  <a:ext uri="{FF2B5EF4-FFF2-40B4-BE49-F238E27FC236}">
                    <a16:creationId xmlns:a16="http://schemas.microsoft.com/office/drawing/2014/main" id="{54236CBD-B029-42EE-91C3-4D7B082E363A}"/>
                  </a:ext>
                </a:extLst>
              </p:cNvPr>
              <p:cNvSpPr>
                <a:spLocks/>
              </p:cNvSpPr>
              <p:nvPr/>
            </p:nvSpPr>
            <p:spPr bwMode="auto">
              <a:xfrm>
                <a:off x="5008563" y="3217863"/>
                <a:ext cx="109538" cy="131763"/>
              </a:xfrm>
              <a:custGeom>
                <a:avLst/>
                <a:gdLst>
                  <a:gd name="T0" fmla="*/ 7 w 25"/>
                  <a:gd name="T1" fmla="*/ 0 h 30"/>
                  <a:gd name="T2" fmla="*/ 0 w 25"/>
                  <a:gd name="T3" fmla="*/ 18 h 30"/>
                  <a:gd name="T4" fmla="*/ 12 w 25"/>
                  <a:gd name="T5" fmla="*/ 30 h 30"/>
                  <a:gd name="T6" fmla="*/ 25 w 25"/>
                  <a:gd name="T7" fmla="*/ 0 h 30"/>
                  <a:gd name="T8" fmla="*/ 7 w 25"/>
                  <a:gd name="T9" fmla="*/ 0 h 30"/>
                </a:gdLst>
                <a:ahLst/>
                <a:cxnLst>
                  <a:cxn ang="0">
                    <a:pos x="T0" y="T1"/>
                  </a:cxn>
                  <a:cxn ang="0">
                    <a:pos x="T2" y="T3"/>
                  </a:cxn>
                  <a:cxn ang="0">
                    <a:pos x="T4" y="T5"/>
                  </a:cxn>
                  <a:cxn ang="0">
                    <a:pos x="T6" y="T7"/>
                  </a:cxn>
                  <a:cxn ang="0">
                    <a:pos x="T8" y="T9"/>
                  </a:cxn>
                </a:cxnLst>
                <a:rect l="0" t="0" r="r" b="b"/>
                <a:pathLst>
                  <a:path w="25" h="30">
                    <a:moveTo>
                      <a:pt x="7" y="0"/>
                    </a:moveTo>
                    <a:cubicBezTo>
                      <a:pt x="7" y="7"/>
                      <a:pt x="4" y="13"/>
                      <a:pt x="0" y="18"/>
                    </a:cubicBezTo>
                    <a:cubicBezTo>
                      <a:pt x="12" y="30"/>
                      <a:pt x="12" y="30"/>
                      <a:pt x="12" y="30"/>
                    </a:cubicBezTo>
                    <a:cubicBezTo>
                      <a:pt x="20" y="22"/>
                      <a:pt x="25" y="12"/>
                      <a:pt x="25" y="0"/>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0" name="Freeform 29">
                <a:extLst>
                  <a:ext uri="{FF2B5EF4-FFF2-40B4-BE49-F238E27FC236}">
                    <a16:creationId xmlns:a16="http://schemas.microsoft.com/office/drawing/2014/main" id="{69A94309-891C-42D5-9727-AC795D0ECDC1}"/>
                  </a:ext>
                </a:extLst>
              </p:cNvPr>
              <p:cNvSpPr>
                <a:spLocks/>
              </p:cNvSpPr>
              <p:nvPr/>
            </p:nvSpPr>
            <p:spPr bwMode="auto">
              <a:xfrm>
                <a:off x="4921251" y="3000375"/>
                <a:ext cx="130175" cy="112713"/>
              </a:xfrm>
              <a:custGeom>
                <a:avLst/>
                <a:gdLst>
                  <a:gd name="T0" fmla="*/ 30 w 30"/>
                  <a:gd name="T1" fmla="*/ 13 h 26"/>
                  <a:gd name="T2" fmla="*/ 0 w 30"/>
                  <a:gd name="T3" fmla="*/ 0 h 26"/>
                  <a:gd name="T4" fmla="*/ 0 w 30"/>
                  <a:gd name="T5" fmla="*/ 18 h 26"/>
                  <a:gd name="T6" fmla="*/ 18 w 30"/>
                  <a:gd name="T7" fmla="*/ 26 h 26"/>
                  <a:gd name="T8" fmla="*/ 30 w 30"/>
                  <a:gd name="T9" fmla="*/ 13 h 26"/>
                </a:gdLst>
                <a:ahLst/>
                <a:cxnLst>
                  <a:cxn ang="0">
                    <a:pos x="T0" y="T1"/>
                  </a:cxn>
                  <a:cxn ang="0">
                    <a:pos x="T2" y="T3"/>
                  </a:cxn>
                  <a:cxn ang="0">
                    <a:pos x="T4" y="T5"/>
                  </a:cxn>
                  <a:cxn ang="0">
                    <a:pos x="T6" y="T7"/>
                  </a:cxn>
                  <a:cxn ang="0">
                    <a:pos x="T8" y="T9"/>
                  </a:cxn>
                </a:cxnLst>
                <a:rect l="0" t="0" r="r" b="b"/>
                <a:pathLst>
                  <a:path w="30" h="26">
                    <a:moveTo>
                      <a:pt x="30" y="13"/>
                    </a:moveTo>
                    <a:cubicBezTo>
                      <a:pt x="22" y="6"/>
                      <a:pt x="12" y="1"/>
                      <a:pt x="0" y="0"/>
                    </a:cubicBezTo>
                    <a:cubicBezTo>
                      <a:pt x="0" y="18"/>
                      <a:pt x="0" y="18"/>
                      <a:pt x="0" y="18"/>
                    </a:cubicBezTo>
                    <a:cubicBezTo>
                      <a:pt x="7" y="18"/>
                      <a:pt x="13" y="21"/>
                      <a:pt x="18" y="26"/>
                    </a:cubicBezTo>
                    <a:lnTo>
                      <a:pt x="3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1" name="Freeform 30">
                <a:extLst>
                  <a:ext uri="{FF2B5EF4-FFF2-40B4-BE49-F238E27FC236}">
                    <a16:creationId xmlns:a16="http://schemas.microsoft.com/office/drawing/2014/main" id="{CDF655A5-255E-4E58-9D0C-D7020984DA10}"/>
                  </a:ext>
                </a:extLst>
              </p:cNvPr>
              <p:cNvSpPr>
                <a:spLocks/>
              </p:cNvSpPr>
              <p:nvPr/>
            </p:nvSpPr>
            <p:spPr bwMode="auto">
              <a:xfrm>
                <a:off x="5008563" y="3070225"/>
                <a:ext cx="57150" cy="52388"/>
              </a:xfrm>
              <a:custGeom>
                <a:avLst/>
                <a:gdLst>
                  <a:gd name="T0" fmla="*/ 13 w 13"/>
                  <a:gd name="T1" fmla="*/ 12 h 12"/>
                  <a:gd name="T2" fmla="*/ 13 w 13"/>
                  <a:gd name="T3" fmla="*/ 0 h 12"/>
                  <a:gd name="T4" fmla="*/ 0 w 13"/>
                  <a:gd name="T5" fmla="*/ 12 h 12"/>
                  <a:gd name="T6" fmla="*/ 13 w 13"/>
                  <a:gd name="T7" fmla="*/ 12 h 12"/>
                </a:gdLst>
                <a:ahLst/>
                <a:cxnLst>
                  <a:cxn ang="0">
                    <a:pos x="T0" y="T1"/>
                  </a:cxn>
                  <a:cxn ang="0">
                    <a:pos x="T2" y="T3"/>
                  </a:cxn>
                  <a:cxn ang="0">
                    <a:pos x="T4" y="T5"/>
                  </a:cxn>
                  <a:cxn ang="0">
                    <a:pos x="T6" y="T7"/>
                  </a:cxn>
                </a:cxnLst>
                <a:rect l="0" t="0" r="r" b="b"/>
                <a:pathLst>
                  <a:path w="13" h="12">
                    <a:moveTo>
                      <a:pt x="13" y="12"/>
                    </a:moveTo>
                    <a:cubicBezTo>
                      <a:pt x="13" y="0"/>
                      <a:pt x="13" y="0"/>
                      <a:pt x="13" y="0"/>
                    </a:cubicBezTo>
                    <a:cubicBezTo>
                      <a:pt x="0" y="12"/>
                      <a:pt x="0" y="12"/>
                      <a:pt x="0" y="12"/>
                    </a:cubicBezTo>
                    <a:cubicBezTo>
                      <a:pt x="2" y="12"/>
                      <a:pt x="11" y="12"/>
                      <a:pt x="1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spTree>
    <p:extLst>
      <p:ext uri="{BB962C8B-B14F-4D97-AF65-F5344CB8AC3E}">
        <p14:creationId xmlns:p14="http://schemas.microsoft.com/office/powerpoint/2010/main" val="27839268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EF7BE-FA3F-465B-9CAC-0D5E970A9A2C}"/>
              </a:ext>
            </a:extLst>
          </p:cNvPr>
          <p:cNvSpPr>
            <a:spLocks noGrp="1"/>
          </p:cNvSpPr>
          <p:nvPr>
            <p:ph type="title"/>
          </p:nvPr>
        </p:nvSpPr>
        <p:spPr/>
        <p:txBody>
          <a:bodyPr/>
          <a:lstStyle/>
          <a:p>
            <a:r>
              <a:rPr lang="en-US" dirty="0"/>
              <a:t>Agenda</a:t>
            </a:r>
            <a:endParaRPr lang="en-IN" dirty="0"/>
          </a:p>
        </p:txBody>
      </p:sp>
      <p:sp>
        <p:nvSpPr>
          <p:cNvPr id="3" name="Content Placeholder 2">
            <a:extLst>
              <a:ext uri="{FF2B5EF4-FFF2-40B4-BE49-F238E27FC236}">
                <a16:creationId xmlns:a16="http://schemas.microsoft.com/office/drawing/2014/main" id="{56C4B2DF-017A-4C85-A6DF-E3FAF102EAF8}"/>
              </a:ext>
            </a:extLst>
          </p:cNvPr>
          <p:cNvSpPr>
            <a:spLocks noGrp="1"/>
          </p:cNvSpPr>
          <p:nvPr>
            <p:ph idx="1"/>
          </p:nvPr>
        </p:nvSpPr>
        <p:spPr/>
        <p:txBody>
          <a:bodyPr/>
          <a:lstStyle/>
          <a:p>
            <a:r>
              <a:rPr lang="en-US" dirty="0"/>
              <a:t>A Modern Enterprise</a:t>
            </a:r>
          </a:p>
          <a:p>
            <a:r>
              <a:rPr lang="en-US" dirty="0"/>
              <a:t>Challenges Faced</a:t>
            </a:r>
          </a:p>
          <a:p>
            <a:r>
              <a:rPr lang="en-US" dirty="0"/>
              <a:t>Need for Azure Governance</a:t>
            </a:r>
          </a:p>
          <a:p>
            <a:r>
              <a:rPr lang="en-US" dirty="0"/>
              <a:t>The Governance Scaffolding</a:t>
            </a:r>
          </a:p>
          <a:p>
            <a:r>
              <a:rPr lang="en-US" dirty="0"/>
              <a:t>Understand the Security Landscape</a:t>
            </a:r>
          </a:p>
          <a:p>
            <a:pPr lvl="1"/>
            <a:r>
              <a:rPr lang="en-US" dirty="0"/>
              <a:t>Components of Azure Security Model</a:t>
            </a:r>
          </a:p>
          <a:p>
            <a:r>
              <a:rPr lang="en-US" dirty="0"/>
              <a:t>Unified Security Management - Azure Security Center</a:t>
            </a:r>
          </a:p>
          <a:p>
            <a:pPr lvl="1"/>
            <a:r>
              <a:rPr lang="en-US" dirty="0"/>
              <a:t>Unified Visibility</a:t>
            </a:r>
          </a:p>
          <a:p>
            <a:pPr lvl="1"/>
            <a:r>
              <a:rPr lang="en-US" dirty="0"/>
              <a:t>Advanced Threat Prevention</a:t>
            </a:r>
          </a:p>
          <a:p>
            <a:pPr lvl="1"/>
            <a:r>
              <a:rPr lang="en-US" dirty="0"/>
              <a:t>Intelligent Detection &amp; Response </a:t>
            </a:r>
          </a:p>
          <a:p>
            <a:r>
              <a:rPr lang="en-IN" dirty="0"/>
              <a:t>Security Implementation Process</a:t>
            </a:r>
          </a:p>
        </p:txBody>
      </p:sp>
    </p:spTree>
    <p:extLst>
      <p:ext uri="{BB962C8B-B14F-4D97-AF65-F5344CB8AC3E}">
        <p14:creationId xmlns:p14="http://schemas.microsoft.com/office/powerpoint/2010/main" val="29332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BBCC2F-A72A-4C83-B55B-854D4744619E}"/>
              </a:ext>
            </a:extLst>
          </p:cNvPr>
          <p:cNvSpPr>
            <a:spLocks noGrp="1"/>
          </p:cNvSpPr>
          <p:nvPr>
            <p:ph type="title"/>
          </p:nvPr>
        </p:nvSpPr>
        <p:spPr/>
        <p:txBody>
          <a:bodyPr/>
          <a:lstStyle/>
          <a:p>
            <a:r>
              <a:rPr lang="en-US" dirty="0"/>
              <a:t>Adaptive Threat Prevention</a:t>
            </a:r>
            <a:endParaRPr lang="en-IN" dirty="0"/>
          </a:p>
        </p:txBody>
      </p:sp>
      <p:sp>
        <p:nvSpPr>
          <p:cNvPr id="5" name="Text Placeholder 4">
            <a:extLst>
              <a:ext uri="{FF2B5EF4-FFF2-40B4-BE49-F238E27FC236}">
                <a16:creationId xmlns:a16="http://schemas.microsoft.com/office/drawing/2014/main" id="{309F469F-455A-45B1-A682-1C40A1BBBC5A}"/>
              </a:ext>
            </a:extLst>
          </p:cNvPr>
          <p:cNvSpPr>
            <a:spLocks noGrp="1"/>
          </p:cNvSpPr>
          <p:nvPr>
            <p:ph type="body" idx="1"/>
          </p:nvPr>
        </p:nvSpPr>
        <p:spPr/>
        <p:txBody>
          <a:bodyPr/>
          <a:lstStyle/>
          <a:p>
            <a:r>
              <a:rPr lang="en-US" dirty="0"/>
              <a:t>Azure Security Center</a:t>
            </a:r>
            <a:endParaRPr lang="en-IN" dirty="0"/>
          </a:p>
        </p:txBody>
      </p:sp>
    </p:spTree>
    <p:extLst>
      <p:ext uri="{BB962C8B-B14F-4D97-AF65-F5344CB8AC3E}">
        <p14:creationId xmlns:p14="http://schemas.microsoft.com/office/powerpoint/2010/main" val="3532437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547" y="-12727"/>
            <a:ext cx="12186813" cy="33765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Freeform 5"/>
          <p:cNvSpPr>
            <a:spLocks/>
          </p:cNvSpPr>
          <p:nvPr/>
        </p:nvSpPr>
        <p:spPr bwMode="auto">
          <a:xfrm flipH="1">
            <a:off x="1735399" y="1908034"/>
            <a:ext cx="3641878" cy="1497950"/>
          </a:xfrm>
          <a:custGeom>
            <a:avLst/>
            <a:gdLst>
              <a:gd name="T0" fmla="*/ 405 w 454"/>
              <a:gd name="T1" fmla="*/ 88 h 185"/>
              <a:gd name="T2" fmla="*/ 397 w 454"/>
              <a:gd name="T3" fmla="*/ 89 h 185"/>
              <a:gd name="T4" fmla="*/ 306 w 454"/>
              <a:gd name="T5" fmla="*/ 0 h 185"/>
              <a:gd name="T6" fmla="*/ 217 w 454"/>
              <a:gd name="T7" fmla="*/ 69 h 185"/>
              <a:gd name="T8" fmla="*/ 169 w 454"/>
              <a:gd name="T9" fmla="*/ 49 h 185"/>
              <a:gd name="T10" fmla="*/ 101 w 454"/>
              <a:gd name="T11" fmla="*/ 110 h 185"/>
              <a:gd name="T12" fmla="*/ 69 w 454"/>
              <a:gd name="T13" fmla="*/ 125 h 185"/>
              <a:gd name="T14" fmla="*/ 37 w 454"/>
              <a:gd name="T15" fmla="*/ 110 h 185"/>
              <a:gd name="T16" fmla="*/ 0 w 454"/>
              <a:gd name="T17" fmla="*/ 147 h 185"/>
              <a:gd name="T18" fmla="*/ 37 w 454"/>
              <a:gd name="T19" fmla="*/ 185 h 185"/>
              <a:gd name="T20" fmla="*/ 48 w 454"/>
              <a:gd name="T21" fmla="*/ 185 h 185"/>
              <a:gd name="T22" fmla="*/ 172 w 454"/>
              <a:gd name="T23" fmla="*/ 185 h 185"/>
              <a:gd name="T24" fmla="*/ 242 w 454"/>
              <a:gd name="T25" fmla="*/ 185 h 185"/>
              <a:gd name="T26" fmla="*/ 409 w 454"/>
              <a:gd name="T27" fmla="*/ 185 h 185"/>
              <a:gd name="T28" fmla="*/ 409 w 454"/>
              <a:gd name="T29" fmla="*/ 185 h 185"/>
              <a:gd name="T30" fmla="*/ 454 w 454"/>
              <a:gd name="T31" fmla="*/ 137 h 185"/>
              <a:gd name="T32" fmla="*/ 405 w 454"/>
              <a:gd name="T33" fmla="*/ 8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185">
                <a:moveTo>
                  <a:pt x="405" y="88"/>
                </a:moveTo>
                <a:cubicBezTo>
                  <a:pt x="403" y="88"/>
                  <a:pt x="401" y="88"/>
                  <a:pt x="397" y="89"/>
                </a:cubicBezTo>
                <a:cubicBezTo>
                  <a:pt x="395" y="40"/>
                  <a:pt x="356" y="0"/>
                  <a:pt x="306" y="0"/>
                </a:cubicBezTo>
                <a:cubicBezTo>
                  <a:pt x="264" y="0"/>
                  <a:pt x="228" y="29"/>
                  <a:pt x="217" y="69"/>
                </a:cubicBezTo>
                <a:cubicBezTo>
                  <a:pt x="205" y="56"/>
                  <a:pt x="187" y="49"/>
                  <a:pt x="169" y="49"/>
                </a:cubicBezTo>
                <a:cubicBezTo>
                  <a:pt x="134" y="49"/>
                  <a:pt x="105" y="76"/>
                  <a:pt x="101" y="110"/>
                </a:cubicBezTo>
                <a:cubicBezTo>
                  <a:pt x="88" y="112"/>
                  <a:pt x="77" y="118"/>
                  <a:pt x="69" y="125"/>
                </a:cubicBezTo>
                <a:cubicBezTo>
                  <a:pt x="62" y="116"/>
                  <a:pt x="50" y="110"/>
                  <a:pt x="37" y="110"/>
                </a:cubicBezTo>
                <a:cubicBezTo>
                  <a:pt x="16" y="110"/>
                  <a:pt x="0" y="126"/>
                  <a:pt x="0" y="147"/>
                </a:cubicBezTo>
                <a:cubicBezTo>
                  <a:pt x="0" y="168"/>
                  <a:pt x="16" y="185"/>
                  <a:pt x="37" y="185"/>
                </a:cubicBezTo>
                <a:cubicBezTo>
                  <a:pt x="48" y="185"/>
                  <a:pt x="48" y="185"/>
                  <a:pt x="48" y="185"/>
                </a:cubicBezTo>
                <a:cubicBezTo>
                  <a:pt x="172" y="185"/>
                  <a:pt x="172" y="185"/>
                  <a:pt x="172" y="185"/>
                </a:cubicBezTo>
                <a:cubicBezTo>
                  <a:pt x="242" y="185"/>
                  <a:pt x="242" y="185"/>
                  <a:pt x="242" y="185"/>
                </a:cubicBezTo>
                <a:cubicBezTo>
                  <a:pt x="409" y="185"/>
                  <a:pt x="409" y="185"/>
                  <a:pt x="409" y="185"/>
                </a:cubicBezTo>
                <a:cubicBezTo>
                  <a:pt x="409" y="185"/>
                  <a:pt x="409" y="185"/>
                  <a:pt x="409" y="185"/>
                </a:cubicBezTo>
                <a:cubicBezTo>
                  <a:pt x="435" y="184"/>
                  <a:pt x="454" y="162"/>
                  <a:pt x="454" y="137"/>
                </a:cubicBezTo>
                <a:cubicBezTo>
                  <a:pt x="454" y="110"/>
                  <a:pt x="432" y="88"/>
                  <a:pt x="405" y="88"/>
                </a:cubicBezTo>
                <a:close/>
              </a:path>
            </a:pathLst>
          </a:custGeom>
          <a:solidFill>
            <a:srgbClr val="FFFFFF">
              <a:alpha val="24000"/>
            </a:srgbClr>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27" name="Rectangle 26"/>
          <p:cNvSpPr/>
          <p:nvPr/>
        </p:nvSpPr>
        <p:spPr bwMode="auto">
          <a:xfrm>
            <a:off x="268415" y="3847195"/>
            <a:ext cx="11578828" cy="2628752"/>
          </a:xfrm>
          <a:prstGeom prst="rect">
            <a:avLst/>
          </a:prstGeom>
          <a:noFill/>
          <a:ln w="9525" cap="flat" cmpd="sng" algn="ctr">
            <a:noFill/>
            <a:prstDash val="solid"/>
            <a:headEnd type="none" w="med" len="med"/>
            <a:tailEnd type="none" w="med" len="med"/>
          </a:ln>
          <a:effectLst/>
        </p:spPr>
        <p:txBody>
          <a:bodyPr lIns="179208" tIns="143366" rIns="179208" bIns="143366"/>
          <a:lstStyle/>
          <a:p>
            <a:pPr marL="0" lvl="1" defTabSz="913698">
              <a:spcBef>
                <a:spcPts val="588"/>
              </a:spcBef>
              <a:spcAft>
                <a:spcPts val="588"/>
              </a:spcAft>
            </a:pPr>
            <a:r>
              <a:rPr lang="en-US" sz="2400" b="1" dirty="0">
                <a:solidFill>
                  <a:srgbClr val="505050"/>
                </a:solidFill>
                <a:latin typeface="Segoe Pro Semibold"/>
              </a:rPr>
              <a:t>Continuously analyzes </a:t>
            </a:r>
            <a:r>
              <a:rPr lang="en-US" sz="2400" dirty="0">
                <a:solidFill>
                  <a:srgbClr val="505050"/>
                </a:solidFill>
                <a:latin typeface="Segoe UI Semilight" panose="020B0402040204020203" pitchFamily="34" charset="0"/>
                <a:cs typeface="Segoe UI Semilight" panose="020B0402040204020203" pitchFamily="34" charset="0"/>
              </a:rPr>
              <a:t>security data from your Azure virtual machines, Azure services (like Azure SQL databases), the network, and connected partner solutions</a:t>
            </a:r>
          </a:p>
          <a:p>
            <a:pPr marL="0" lvl="1" defTabSz="913698">
              <a:spcBef>
                <a:spcPts val="588"/>
              </a:spcBef>
              <a:spcAft>
                <a:spcPts val="588"/>
              </a:spcAft>
            </a:pPr>
            <a:r>
              <a:rPr lang="en-US" sz="2400" b="1" dirty="0">
                <a:solidFill>
                  <a:srgbClr val="505050"/>
                </a:solidFill>
                <a:latin typeface="Segoe Pro Semibold"/>
              </a:rPr>
              <a:t>Leverages security intelligence and advanced analytics</a:t>
            </a:r>
            <a:r>
              <a:rPr lang="en-US" sz="2400" dirty="0">
                <a:solidFill>
                  <a:srgbClr val="505050"/>
                </a:solidFill>
                <a:latin typeface="Segoe UI Semilight" panose="020B0402040204020203" pitchFamily="34" charset="0"/>
                <a:cs typeface="Segoe UI Semilight" panose="020B0402040204020203" pitchFamily="34" charset="0"/>
              </a:rPr>
              <a:t> to detect threats more quickly and reduce false positives</a:t>
            </a:r>
          </a:p>
          <a:p>
            <a:pPr marL="0" lvl="1" defTabSz="913698">
              <a:spcBef>
                <a:spcPts val="588"/>
              </a:spcBef>
              <a:spcAft>
                <a:spcPts val="588"/>
              </a:spcAft>
            </a:pPr>
            <a:r>
              <a:rPr lang="en-US" sz="2400" b="1" dirty="0">
                <a:solidFill>
                  <a:srgbClr val="505050"/>
                </a:solidFill>
                <a:latin typeface="Segoe Pro Semibold"/>
                <a:cs typeface="Segoe UI Semibold" panose="020B0702040204020203" pitchFamily="34" charset="0"/>
              </a:rPr>
              <a:t>Creates prioritized security alerts </a:t>
            </a:r>
            <a:r>
              <a:rPr lang="en-US" sz="2400" dirty="0">
                <a:solidFill>
                  <a:srgbClr val="505050"/>
                </a:solidFill>
                <a:latin typeface="Segoe UI Semilight" panose="020B0402040204020203" pitchFamily="34" charset="0"/>
                <a:cs typeface="Segoe UI Semilight" panose="020B0402040204020203" pitchFamily="34" charset="0"/>
              </a:rPr>
              <a:t>that provide insight into the attack and recommendations on how to remediate</a:t>
            </a:r>
            <a:endParaRPr lang="en-US" sz="2400" b="1" dirty="0">
              <a:solidFill>
                <a:srgbClr val="505050"/>
              </a:solidFill>
              <a:latin typeface="Segoe Pro Semibold"/>
            </a:endParaRPr>
          </a:p>
        </p:txBody>
      </p:sp>
      <p:sp>
        <p:nvSpPr>
          <p:cNvPr id="241" name="Freeform 9"/>
          <p:cNvSpPr>
            <a:spLocks/>
          </p:cNvSpPr>
          <p:nvPr/>
        </p:nvSpPr>
        <p:spPr bwMode="auto">
          <a:xfrm>
            <a:off x="225225" y="2815803"/>
            <a:ext cx="1001674" cy="548023"/>
          </a:xfrm>
          <a:custGeom>
            <a:avLst/>
            <a:gdLst>
              <a:gd name="T0" fmla="*/ 768 w 971"/>
              <a:gd name="T1" fmla="*/ 123 h 530"/>
              <a:gd name="T2" fmla="*/ 701 w 971"/>
              <a:gd name="T3" fmla="*/ 135 h 530"/>
              <a:gd name="T4" fmla="*/ 471 w 971"/>
              <a:gd name="T5" fmla="*/ 0 h 530"/>
              <a:gd name="T6" fmla="*/ 215 w 971"/>
              <a:gd name="T7" fmla="*/ 197 h 530"/>
              <a:gd name="T8" fmla="*/ 169 w 971"/>
              <a:gd name="T9" fmla="*/ 191 h 530"/>
              <a:gd name="T10" fmla="*/ 0 w 971"/>
              <a:gd name="T11" fmla="*/ 360 h 530"/>
              <a:gd name="T12" fmla="*/ 169 w 971"/>
              <a:gd name="T13" fmla="*/ 530 h 530"/>
              <a:gd name="T14" fmla="*/ 768 w 971"/>
              <a:gd name="T15" fmla="*/ 530 h 530"/>
              <a:gd name="T16" fmla="*/ 971 w 971"/>
              <a:gd name="T17" fmla="*/ 327 h 530"/>
              <a:gd name="T18" fmla="*/ 768 w 971"/>
              <a:gd name="T19" fmla="*/ 123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1" h="530">
                <a:moveTo>
                  <a:pt x="768" y="123"/>
                </a:moveTo>
                <a:cubicBezTo>
                  <a:pt x="745" y="123"/>
                  <a:pt x="722" y="127"/>
                  <a:pt x="701" y="135"/>
                </a:cubicBezTo>
                <a:cubicBezTo>
                  <a:pt x="655" y="54"/>
                  <a:pt x="569" y="0"/>
                  <a:pt x="471" y="0"/>
                </a:cubicBezTo>
                <a:cubicBezTo>
                  <a:pt x="348" y="0"/>
                  <a:pt x="245" y="84"/>
                  <a:pt x="215" y="197"/>
                </a:cubicBezTo>
                <a:cubicBezTo>
                  <a:pt x="200" y="193"/>
                  <a:pt x="185" y="191"/>
                  <a:pt x="169" y="191"/>
                </a:cubicBezTo>
                <a:cubicBezTo>
                  <a:pt x="76" y="191"/>
                  <a:pt x="0" y="267"/>
                  <a:pt x="0" y="360"/>
                </a:cubicBezTo>
                <a:cubicBezTo>
                  <a:pt x="0" y="454"/>
                  <a:pt x="76" y="530"/>
                  <a:pt x="169" y="530"/>
                </a:cubicBezTo>
                <a:cubicBezTo>
                  <a:pt x="768" y="530"/>
                  <a:pt x="768" y="530"/>
                  <a:pt x="768" y="530"/>
                </a:cubicBezTo>
                <a:cubicBezTo>
                  <a:pt x="880" y="530"/>
                  <a:pt x="971" y="439"/>
                  <a:pt x="971" y="327"/>
                </a:cubicBezTo>
                <a:cubicBezTo>
                  <a:pt x="971" y="214"/>
                  <a:pt x="880" y="123"/>
                  <a:pt x="768" y="123"/>
                </a:cubicBezTo>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505050"/>
              </a:solidFill>
            </a:endParaRPr>
          </a:p>
        </p:txBody>
      </p:sp>
      <p:sp>
        <p:nvSpPr>
          <p:cNvPr id="10" name="Oval 9"/>
          <p:cNvSpPr/>
          <p:nvPr/>
        </p:nvSpPr>
        <p:spPr bwMode="auto">
          <a:xfrm>
            <a:off x="807730" y="1509819"/>
            <a:ext cx="2156116" cy="2156116"/>
          </a:xfrm>
          <a:prstGeom prst="ellipse">
            <a:avLst/>
          </a:prstGeom>
          <a:solidFill>
            <a:schemeClr val="bg1"/>
          </a:solidFill>
          <a:ln w="984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3"/>
          <a:stretch>
            <a:fillRect/>
          </a:stretch>
        </p:blipFill>
        <p:spPr>
          <a:xfrm>
            <a:off x="713571" y="1693898"/>
            <a:ext cx="1963952" cy="1937719"/>
          </a:xfrm>
          <a:prstGeom prst="rect">
            <a:avLst/>
          </a:prstGeom>
        </p:spPr>
      </p:pic>
      <p:sp>
        <p:nvSpPr>
          <p:cNvPr id="12" name="Title 1"/>
          <p:cNvSpPr>
            <a:spLocks noGrp="1"/>
          </p:cNvSpPr>
          <p:nvPr>
            <p:ph type="title"/>
          </p:nvPr>
        </p:nvSpPr>
        <p:spPr>
          <a:xfrm>
            <a:off x="270067" y="966467"/>
            <a:ext cx="11654187" cy="899409"/>
          </a:xfrm>
        </p:spPr>
        <p:txBody>
          <a:bodyPr>
            <a:normAutofit fontScale="90000"/>
          </a:bodyPr>
          <a:lstStyle/>
          <a:p>
            <a:pPr algn="r"/>
            <a:r>
              <a:rPr lang="en-US" sz="5996" dirty="0">
                <a:solidFill>
                  <a:schemeClr val="bg1"/>
                </a:solidFill>
              </a:rPr>
              <a:t>Detect cyber threats</a:t>
            </a:r>
          </a:p>
        </p:txBody>
      </p:sp>
    </p:spTree>
    <p:extLst>
      <p:ext uri="{BB962C8B-B14F-4D97-AF65-F5344CB8AC3E}">
        <p14:creationId xmlns:p14="http://schemas.microsoft.com/office/powerpoint/2010/main" val="1541843553"/>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050172" y="290034"/>
            <a:ext cx="5309408" cy="5669578"/>
            <a:chOff x="5151437" y="295353"/>
            <a:chExt cx="5415873" cy="5783265"/>
          </a:xfrm>
        </p:grpSpPr>
        <p:pic>
          <p:nvPicPr>
            <p:cNvPr id="4" name="Picture 3"/>
            <p:cNvPicPr>
              <a:picLocks noChangeAspect="1"/>
            </p:cNvPicPr>
            <p:nvPr/>
          </p:nvPicPr>
          <p:blipFill>
            <a:blip r:embed="rId2"/>
            <a:stretch>
              <a:fillRect/>
            </a:stretch>
          </p:blipFill>
          <p:spPr>
            <a:xfrm>
              <a:off x="5151437" y="295353"/>
              <a:ext cx="5415873" cy="5783265"/>
            </a:xfrm>
            <a:prstGeom prst="rect">
              <a:avLst/>
            </a:prstGeom>
            <a:ln>
              <a:solidFill>
                <a:schemeClr val="bg1">
                  <a:lumMod val="75000"/>
                </a:schemeClr>
              </a:solidFill>
            </a:ln>
          </p:spPr>
        </p:pic>
        <p:sp>
          <p:nvSpPr>
            <p:cNvPr id="6" name="Rectangle 5"/>
            <p:cNvSpPr/>
            <p:nvPr/>
          </p:nvSpPr>
          <p:spPr bwMode="auto">
            <a:xfrm>
              <a:off x="5182234" y="495298"/>
              <a:ext cx="1752600" cy="76200"/>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a:xfrm>
            <a:off x="269239" y="560751"/>
            <a:ext cx="4033912" cy="5669578"/>
          </a:xfrm>
        </p:spPr>
        <p:txBody>
          <a:bodyPr/>
          <a:lstStyle/>
          <a:p>
            <a:r>
              <a:rPr lang="en-US" dirty="0"/>
              <a:t>Prioritized security alerts provide details about the threat detected and suggests steps to remediate</a:t>
            </a:r>
          </a:p>
        </p:txBody>
      </p:sp>
      <p:sp>
        <p:nvSpPr>
          <p:cNvPr id="9" name="Rectangle 8"/>
          <p:cNvSpPr/>
          <p:nvPr/>
        </p:nvSpPr>
        <p:spPr bwMode="auto">
          <a:xfrm>
            <a:off x="5206467" y="4250723"/>
            <a:ext cx="4998147" cy="224106"/>
          </a:xfrm>
          <a:prstGeom prst="rect">
            <a:avLst/>
          </a:prstGeom>
          <a:noFill/>
          <a:ln w="2857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8262361" y="1038534"/>
            <a:ext cx="3638962" cy="5669578"/>
            <a:chOff x="8428037" y="1058862"/>
            <a:chExt cx="3711931" cy="5783265"/>
          </a:xfrm>
        </p:grpSpPr>
        <p:pic>
          <p:nvPicPr>
            <p:cNvPr id="5" name="Picture 4"/>
            <p:cNvPicPr>
              <a:picLocks noChangeAspect="1"/>
            </p:cNvPicPr>
            <p:nvPr/>
          </p:nvPicPr>
          <p:blipFill>
            <a:blip r:embed="rId3"/>
            <a:stretch>
              <a:fillRect/>
            </a:stretch>
          </p:blipFill>
          <p:spPr>
            <a:xfrm>
              <a:off x="8428037" y="1058862"/>
              <a:ext cx="3711931" cy="5783265"/>
            </a:xfrm>
            <a:prstGeom prst="rect">
              <a:avLst/>
            </a:prstGeom>
            <a:ln>
              <a:solidFill>
                <a:schemeClr val="bg1">
                  <a:lumMod val="75000"/>
                </a:schemeClr>
              </a:solidFill>
            </a:ln>
          </p:spPr>
        </p:pic>
        <p:sp>
          <p:nvSpPr>
            <p:cNvPr id="7" name="Rectangle 6"/>
            <p:cNvSpPr/>
            <p:nvPr/>
          </p:nvSpPr>
          <p:spPr bwMode="auto">
            <a:xfrm>
              <a:off x="8760932" y="1211262"/>
              <a:ext cx="1806377" cy="152400"/>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17002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923889" y="67407"/>
            <a:ext cx="5773731" cy="5126168"/>
            <a:chOff x="5022623" y="68262"/>
            <a:chExt cx="5889506" cy="5228958"/>
          </a:xfrm>
        </p:grpSpPr>
        <p:pic>
          <p:nvPicPr>
            <p:cNvPr id="8" name="Picture 7"/>
            <p:cNvPicPr>
              <a:picLocks noChangeAspect="1"/>
            </p:cNvPicPr>
            <p:nvPr/>
          </p:nvPicPr>
          <p:blipFill>
            <a:blip r:embed="rId2"/>
            <a:stretch>
              <a:fillRect/>
            </a:stretch>
          </p:blipFill>
          <p:spPr>
            <a:xfrm>
              <a:off x="5022623" y="68262"/>
              <a:ext cx="5889506" cy="5228958"/>
            </a:xfrm>
            <a:prstGeom prst="rect">
              <a:avLst/>
            </a:prstGeom>
            <a:ln>
              <a:solidFill>
                <a:schemeClr val="bg1">
                  <a:lumMod val="75000"/>
                </a:schemeClr>
              </a:solidFill>
            </a:ln>
          </p:spPr>
        </p:pic>
        <p:sp>
          <p:nvSpPr>
            <p:cNvPr id="6" name="Rectangle 5"/>
            <p:cNvSpPr/>
            <p:nvPr/>
          </p:nvSpPr>
          <p:spPr bwMode="auto">
            <a:xfrm>
              <a:off x="5038180" y="296862"/>
              <a:ext cx="1027657" cy="76200"/>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p:txBody>
          <a:bodyPr/>
          <a:lstStyle/>
          <a:p>
            <a:r>
              <a:rPr lang="en-US" dirty="0">
                <a:solidFill>
                  <a:schemeClr val="bg1"/>
                </a:solidFill>
                <a:ea typeface="Calibri" panose="020F0502020204030204" pitchFamily="34" charset="0"/>
                <a:cs typeface="Times New Roman" panose="02020603050405020304" pitchFamily="18" charset="0"/>
              </a:rPr>
              <a:t>Alerts that conform to kill chain patterns are fused into a single incident</a:t>
            </a:r>
            <a:endParaRPr lang="en-US" dirty="0">
              <a:solidFill>
                <a:schemeClr val="bg1"/>
              </a:solidFill>
            </a:endParaRPr>
          </a:p>
        </p:txBody>
      </p:sp>
      <p:sp>
        <p:nvSpPr>
          <p:cNvPr id="9" name="Rectangle 8"/>
          <p:cNvSpPr/>
          <p:nvPr/>
        </p:nvSpPr>
        <p:spPr bwMode="auto">
          <a:xfrm>
            <a:off x="5050171" y="4026617"/>
            <a:ext cx="4998147" cy="224106"/>
          </a:xfrm>
          <a:prstGeom prst="rect">
            <a:avLst/>
          </a:prstGeom>
          <a:noFill/>
          <a:ln w="2857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p:cNvGrpSpPr/>
          <p:nvPr/>
        </p:nvGrpSpPr>
        <p:grpSpPr>
          <a:xfrm>
            <a:off x="7888849" y="2009661"/>
            <a:ext cx="4033220" cy="4719329"/>
            <a:chOff x="8047037" y="2049462"/>
            <a:chExt cx="4114094" cy="4813961"/>
          </a:xfrm>
        </p:grpSpPr>
        <p:pic>
          <p:nvPicPr>
            <p:cNvPr id="7" name="Picture 6"/>
            <p:cNvPicPr>
              <a:picLocks noChangeAspect="1"/>
            </p:cNvPicPr>
            <p:nvPr/>
          </p:nvPicPr>
          <p:blipFill>
            <a:blip r:embed="rId3"/>
            <a:stretch>
              <a:fillRect/>
            </a:stretch>
          </p:blipFill>
          <p:spPr>
            <a:xfrm>
              <a:off x="8047037" y="2049462"/>
              <a:ext cx="4114094" cy="4813961"/>
            </a:xfrm>
            <a:prstGeom prst="rect">
              <a:avLst/>
            </a:prstGeom>
            <a:ln>
              <a:solidFill>
                <a:schemeClr val="bg1">
                  <a:lumMod val="75000"/>
                </a:schemeClr>
              </a:solidFill>
            </a:ln>
          </p:spPr>
        </p:pic>
        <p:sp>
          <p:nvSpPr>
            <p:cNvPr id="10" name="Rectangle 9"/>
            <p:cNvSpPr/>
            <p:nvPr/>
          </p:nvSpPr>
          <p:spPr bwMode="auto">
            <a:xfrm>
              <a:off x="8809037" y="2201862"/>
              <a:ext cx="762000" cy="152400"/>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947052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p:cNvSpPr/>
          <p:nvPr/>
        </p:nvSpPr>
        <p:spPr bwMode="auto">
          <a:xfrm>
            <a:off x="263566" y="4344607"/>
            <a:ext cx="7564426" cy="2042906"/>
          </a:xfrm>
          <a:prstGeom prst="rect">
            <a:avLst/>
          </a:prstGeom>
          <a:solidFill>
            <a:schemeClr val="bg2">
              <a:lumMod val="90000"/>
            </a:schemeClr>
          </a:solidFill>
          <a:ln w="9525" cap="flat" cmpd="sng" algn="ctr">
            <a:noFill/>
            <a:prstDash val="solid"/>
            <a:headEnd type="none" w="med" len="med"/>
            <a:tailEnd type="none" w="med" len="med"/>
          </a:ln>
          <a:effectLst/>
        </p:spPr>
        <p:txBody>
          <a:bodyPr lIns="179183" tIns="143346" rIns="179183" bIns="143346"/>
          <a:lstStyle/>
          <a:p>
            <a:pPr marL="0" lvl="1" defTabSz="913523">
              <a:lnSpc>
                <a:spcPct val="90000"/>
              </a:lnSpc>
              <a:defRPr/>
            </a:pPr>
            <a:r>
              <a:rPr lang="en-US" sz="3137" kern="0" dirty="0">
                <a:gradFill>
                  <a:gsLst>
                    <a:gs pos="5439">
                      <a:srgbClr val="0078D7"/>
                    </a:gs>
                    <a:gs pos="58000">
                      <a:srgbClr val="0078D7"/>
                    </a:gs>
                  </a:gsLst>
                  <a:lin ang="5400000" scaled="0"/>
                </a:gradFill>
              </a:rPr>
              <a:t>Fusion</a:t>
            </a:r>
          </a:p>
          <a:p>
            <a:pPr marL="0" lvl="1" defTabSz="913523">
              <a:lnSpc>
                <a:spcPct val="90000"/>
              </a:lnSpc>
            </a:pPr>
            <a:r>
              <a:rPr lang="en-US" sz="1568" kern="0" dirty="0">
                <a:gradFill>
                  <a:gsLst>
                    <a:gs pos="5439">
                      <a:srgbClr val="505050"/>
                    </a:gs>
                    <a:gs pos="58000">
                      <a:srgbClr val="505050"/>
                    </a:gs>
                  </a:gsLst>
                  <a:lin ang="5400000" scaled="0"/>
                </a:gradFill>
              </a:rPr>
              <a:t>Combine events and alerts from across the kill chain to map the attack timeline</a:t>
            </a:r>
          </a:p>
          <a:p>
            <a:pPr marL="0" lvl="1" defTabSz="913523">
              <a:lnSpc>
                <a:spcPct val="90000"/>
              </a:lnSpc>
            </a:pPr>
            <a:endParaRPr lang="en-US" sz="1568" kern="0" dirty="0">
              <a:gradFill>
                <a:gsLst>
                  <a:gs pos="5439">
                    <a:srgbClr val="505050"/>
                  </a:gs>
                  <a:gs pos="58000">
                    <a:srgbClr val="505050"/>
                  </a:gs>
                </a:gsLst>
                <a:lin ang="5400000" scaled="0"/>
              </a:gradFill>
            </a:endParaRPr>
          </a:p>
          <a:p>
            <a:pPr marL="0" lvl="1" defTabSz="913523">
              <a:lnSpc>
                <a:spcPct val="90000"/>
              </a:lnSpc>
            </a:pPr>
            <a:r>
              <a:rPr lang="en-US" sz="1568" kern="0" dirty="0">
                <a:gradFill>
                  <a:gsLst>
                    <a:gs pos="5439">
                      <a:srgbClr val="505050"/>
                    </a:gs>
                    <a:gs pos="58000">
                      <a:srgbClr val="505050"/>
                    </a:gs>
                  </a:gsLst>
                  <a:lin ang="5400000" scaled="0"/>
                </a:gradFill>
              </a:rPr>
              <a:t>Examples</a:t>
            </a:r>
          </a:p>
          <a:p>
            <a:pPr marL="172742" lvl="1" indent="-172742" defTabSz="913523">
              <a:lnSpc>
                <a:spcPct val="90000"/>
              </a:lnSpc>
              <a:buFont typeface="Wingdings" panose="05000000000000000000" pitchFamily="2" charset="2"/>
              <a:buChar char="§"/>
            </a:pPr>
            <a:r>
              <a:rPr lang="en-US" sz="1568" kern="0" dirty="0">
                <a:gradFill>
                  <a:gsLst>
                    <a:gs pos="5439">
                      <a:srgbClr val="505050"/>
                    </a:gs>
                    <a:gs pos="58000">
                      <a:srgbClr val="505050"/>
                    </a:gs>
                  </a:gsLst>
                  <a:lin ang="5400000" scaled="0"/>
                </a:gradFill>
              </a:rPr>
              <a:t>SQL injections (WAF + Azure SQL Logs)</a:t>
            </a:r>
          </a:p>
          <a:p>
            <a:pPr marL="172742" lvl="1" indent="-172742" defTabSz="913523">
              <a:lnSpc>
                <a:spcPct val="90000"/>
              </a:lnSpc>
              <a:buFont typeface="Wingdings" panose="05000000000000000000" pitchFamily="2" charset="2"/>
              <a:buChar char="§"/>
            </a:pPr>
            <a:r>
              <a:rPr lang="en-US" sz="1568" kern="0" dirty="0">
                <a:gradFill>
                  <a:gsLst>
                    <a:gs pos="5439">
                      <a:srgbClr val="505050"/>
                    </a:gs>
                    <a:gs pos="58000">
                      <a:srgbClr val="505050"/>
                    </a:gs>
                  </a:gsLst>
                  <a:lin ang="5400000" scaled="0"/>
                </a:gradFill>
              </a:rPr>
              <a:t>Malicious process (Crash dump… and later… suspicious process execution)</a:t>
            </a:r>
          </a:p>
          <a:p>
            <a:pPr marL="172742" lvl="1" indent="-172742" defTabSz="913523">
              <a:lnSpc>
                <a:spcPct val="90000"/>
              </a:lnSpc>
              <a:buFont typeface="Wingdings" panose="05000000000000000000" pitchFamily="2" charset="2"/>
              <a:buChar char="§"/>
            </a:pPr>
            <a:r>
              <a:rPr lang="en-US" sz="1568" kern="0" dirty="0">
                <a:gradFill>
                  <a:gsLst>
                    <a:gs pos="5439">
                      <a:srgbClr val="505050"/>
                    </a:gs>
                    <a:gs pos="58000">
                      <a:srgbClr val="505050"/>
                    </a:gs>
                  </a:gsLst>
                  <a:lin ang="5400000" scaled="0"/>
                </a:gradFill>
              </a:rPr>
              <a:t>Breach detection (Brute force attempt… and later… suspicious VM activity)</a:t>
            </a:r>
          </a:p>
          <a:p>
            <a:pPr marL="0" lvl="1" defTabSz="913523">
              <a:lnSpc>
                <a:spcPct val="90000"/>
              </a:lnSpc>
            </a:pPr>
            <a:endParaRPr lang="en-US" sz="1568" b="1" kern="0" dirty="0">
              <a:gradFill>
                <a:gsLst>
                  <a:gs pos="5439">
                    <a:srgbClr val="505050"/>
                  </a:gs>
                  <a:gs pos="58000">
                    <a:srgbClr val="505050"/>
                  </a:gs>
                </a:gsLst>
                <a:lin ang="5400000" scaled="0"/>
              </a:gradFill>
            </a:endParaRPr>
          </a:p>
        </p:txBody>
      </p:sp>
      <p:sp>
        <p:nvSpPr>
          <p:cNvPr id="59" name="Freeform 5"/>
          <p:cNvSpPr>
            <a:spLocks/>
          </p:cNvSpPr>
          <p:nvPr/>
        </p:nvSpPr>
        <p:spPr bwMode="auto">
          <a:xfrm>
            <a:off x="6730151" y="-297077"/>
            <a:ext cx="5950602" cy="2447555"/>
          </a:xfrm>
          <a:custGeom>
            <a:avLst/>
            <a:gdLst>
              <a:gd name="T0" fmla="*/ 405 w 454"/>
              <a:gd name="T1" fmla="*/ 88 h 185"/>
              <a:gd name="T2" fmla="*/ 397 w 454"/>
              <a:gd name="T3" fmla="*/ 89 h 185"/>
              <a:gd name="T4" fmla="*/ 306 w 454"/>
              <a:gd name="T5" fmla="*/ 0 h 185"/>
              <a:gd name="T6" fmla="*/ 217 w 454"/>
              <a:gd name="T7" fmla="*/ 69 h 185"/>
              <a:gd name="T8" fmla="*/ 169 w 454"/>
              <a:gd name="T9" fmla="*/ 49 h 185"/>
              <a:gd name="T10" fmla="*/ 101 w 454"/>
              <a:gd name="T11" fmla="*/ 110 h 185"/>
              <a:gd name="T12" fmla="*/ 69 w 454"/>
              <a:gd name="T13" fmla="*/ 125 h 185"/>
              <a:gd name="T14" fmla="*/ 37 w 454"/>
              <a:gd name="T15" fmla="*/ 110 h 185"/>
              <a:gd name="T16" fmla="*/ 0 w 454"/>
              <a:gd name="T17" fmla="*/ 147 h 185"/>
              <a:gd name="T18" fmla="*/ 37 w 454"/>
              <a:gd name="T19" fmla="*/ 185 h 185"/>
              <a:gd name="T20" fmla="*/ 48 w 454"/>
              <a:gd name="T21" fmla="*/ 185 h 185"/>
              <a:gd name="T22" fmla="*/ 172 w 454"/>
              <a:gd name="T23" fmla="*/ 185 h 185"/>
              <a:gd name="T24" fmla="*/ 242 w 454"/>
              <a:gd name="T25" fmla="*/ 185 h 185"/>
              <a:gd name="T26" fmla="*/ 409 w 454"/>
              <a:gd name="T27" fmla="*/ 185 h 185"/>
              <a:gd name="T28" fmla="*/ 409 w 454"/>
              <a:gd name="T29" fmla="*/ 185 h 185"/>
              <a:gd name="T30" fmla="*/ 454 w 454"/>
              <a:gd name="T31" fmla="*/ 137 h 185"/>
              <a:gd name="T32" fmla="*/ 405 w 454"/>
              <a:gd name="T33" fmla="*/ 8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185">
                <a:moveTo>
                  <a:pt x="405" y="88"/>
                </a:moveTo>
                <a:cubicBezTo>
                  <a:pt x="403" y="88"/>
                  <a:pt x="401" y="88"/>
                  <a:pt x="397" y="89"/>
                </a:cubicBezTo>
                <a:cubicBezTo>
                  <a:pt x="395" y="40"/>
                  <a:pt x="356" y="0"/>
                  <a:pt x="306" y="0"/>
                </a:cubicBezTo>
                <a:cubicBezTo>
                  <a:pt x="264" y="0"/>
                  <a:pt x="228" y="29"/>
                  <a:pt x="217" y="69"/>
                </a:cubicBezTo>
                <a:cubicBezTo>
                  <a:pt x="205" y="56"/>
                  <a:pt x="187" y="49"/>
                  <a:pt x="169" y="49"/>
                </a:cubicBezTo>
                <a:cubicBezTo>
                  <a:pt x="134" y="49"/>
                  <a:pt x="105" y="76"/>
                  <a:pt x="101" y="110"/>
                </a:cubicBezTo>
                <a:cubicBezTo>
                  <a:pt x="88" y="112"/>
                  <a:pt x="77" y="118"/>
                  <a:pt x="69" y="125"/>
                </a:cubicBezTo>
                <a:cubicBezTo>
                  <a:pt x="62" y="116"/>
                  <a:pt x="50" y="110"/>
                  <a:pt x="37" y="110"/>
                </a:cubicBezTo>
                <a:cubicBezTo>
                  <a:pt x="16" y="110"/>
                  <a:pt x="0" y="126"/>
                  <a:pt x="0" y="147"/>
                </a:cubicBezTo>
                <a:cubicBezTo>
                  <a:pt x="0" y="168"/>
                  <a:pt x="16" y="185"/>
                  <a:pt x="37" y="185"/>
                </a:cubicBezTo>
                <a:cubicBezTo>
                  <a:pt x="48" y="185"/>
                  <a:pt x="48" y="185"/>
                  <a:pt x="48" y="185"/>
                </a:cubicBezTo>
                <a:cubicBezTo>
                  <a:pt x="172" y="185"/>
                  <a:pt x="172" y="185"/>
                  <a:pt x="172" y="185"/>
                </a:cubicBezTo>
                <a:cubicBezTo>
                  <a:pt x="242" y="185"/>
                  <a:pt x="242" y="185"/>
                  <a:pt x="242" y="185"/>
                </a:cubicBezTo>
                <a:cubicBezTo>
                  <a:pt x="409" y="185"/>
                  <a:pt x="409" y="185"/>
                  <a:pt x="409" y="185"/>
                </a:cubicBezTo>
                <a:cubicBezTo>
                  <a:pt x="409" y="185"/>
                  <a:pt x="409" y="185"/>
                  <a:pt x="409" y="185"/>
                </a:cubicBezTo>
                <a:cubicBezTo>
                  <a:pt x="435" y="184"/>
                  <a:pt x="454" y="162"/>
                  <a:pt x="454" y="137"/>
                </a:cubicBezTo>
                <a:cubicBezTo>
                  <a:pt x="454" y="110"/>
                  <a:pt x="432" y="88"/>
                  <a:pt x="405" y="88"/>
                </a:cubicBezTo>
                <a:close/>
              </a:path>
            </a:pathLst>
          </a:custGeom>
          <a:solidFill>
            <a:srgbClr val="FFFFFF">
              <a:alpha val="24000"/>
            </a:srgbClr>
          </a:solidFill>
          <a:ln>
            <a:noFill/>
          </a:ln>
        </p:spPr>
        <p:txBody>
          <a:bodyPr vert="horz" wrap="square" lIns="89592" tIns="44796" rIns="89592" bIns="44796" numCol="1" anchor="t" anchorCtr="0" compatLnSpc="1">
            <a:prstTxWarp prst="textNoShape">
              <a:avLst/>
            </a:prstTxWarp>
          </a:bodyPr>
          <a:lstStyle/>
          <a:p>
            <a:pPr defTabSz="913665"/>
            <a:endParaRPr lang="en-US" sz="1765" kern="0">
              <a:solidFill>
                <a:srgbClr val="505050"/>
              </a:solidFill>
            </a:endParaRPr>
          </a:p>
        </p:txBody>
      </p:sp>
      <p:sp>
        <p:nvSpPr>
          <p:cNvPr id="38" name="Freeform 5"/>
          <p:cNvSpPr>
            <a:spLocks/>
          </p:cNvSpPr>
          <p:nvPr/>
        </p:nvSpPr>
        <p:spPr bwMode="auto">
          <a:xfrm flipH="1">
            <a:off x="1736018" y="115902"/>
            <a:ext cx="3641361" cy="1497737"/>
          </a:xfrm>
          <a:custGeom>
            <a:avLst/>
            <a:gdLst>
              <a:gd name="T0" fmla="*/ 405 w 454"/>
              <a:gd name="T1" fmla="*/ 88 h 185"/>
              <a:gd name="T2" fmla="*/ 397 w 454"/>
              <a:gd name="T3" fmla="*/ 89 h 185"/>
              <a:gd name="T4" fmla="*/ 306 w 454"/>
              <a:gd name="T5" fmla="*/ 0 h 185"/>
              <a:gd name="T6" fmla="*/ 217 w 454"/>
              <a:gd name="T7" fmla="*/ 69 h 185"/>
              <a:gd name="T8" fmla="*/ 169 w 454"/>
              <a:gd name="T9" fmla="*/ 49 h 185"/>
              <a:gd name="T10" fmla="*/ 101 w 454"/>
              <a:gd name="T11" fmla="*/ 110 h 185"/>
              <a:gd name="T12" fmla="*/ 69 w 454"/>
              <a:gd name="T13" fmla="*/ 125 h 185"/>
              <a:gd name="T14" fmla="*/ 37 w 454"/>
              <a:gd name="T15" fmla="*/ 110 h 185"/>
              <a:gd name="T16" fmla="*/ 0 w 454"/>
              <a:gd name="T17" fmla="*/ 147 h 185"/>
              <a:gd name="T18" fmla="*/ 37 w 454"/>
              <a:gd name="T19" fmla="*/ 185 h 185"/>
              <a:gd name="T20" fmla="*/ 48 w 454"/>
              <a:gd name="T21" fmla="*/ 185 h 185"/>
              <a:gd name="T22" fmla="*/ 172 w 454"/>
              <a:gd name="T23" fmla="*/ 185 h 185"/>
              <a:gd name="T24" fmla="*/ 242 w 454"/>
              <a:gd name="T25" fmla="*/ 185 h 185"/>
              <a:gd name="T26" fmla="*/ 409 w 454"/>
              <a:gd name="T27" fmla="*/ 185 h 185"/>
              <a:gd name="T28" fmla="*/ 409 w 454"/>
              <a:gd name="T29" fmla="*/ 185 h 185"/>
              <a:gd name="T30" fmla="*/ 454 w 454"/>
              <a:gd name="T31" fmla="*/ 137 h 185"/>
              <a:gd name="T32" fmla="*/ 405 w 454"/>
              <a:gd name="T33" fmla="*/ 8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185">
                <a:moveTo>
                  <a:pt x="405" y="88"/>
                </a:moveTo>
                <a:cubicBezTo>
                  <a:pt x="403" y="88"/>
                  <a:pt x="401" y="88"/>
                  <a:pt x="397" y="89"/>
                </a:cubicBezTo>
                <a:cubicBezTo>
                  <a:pt x="395" y="40"/>
                  <a:pt x="356" y="0"/>
                  <a:pt x="306" y="0"/>
                </a:cubicBezTo>
                <a:cubicBezTo>
                  <a:pt x="264" y="0"/>
                  <a:pt x="228" y="29"/>
                  <a:pt x="217" y="69"/>
                </a:cubicBezTo>
                <a:cubicBezTo>
                  <a:pt x="205" y="56"/>
                  <a:pt x="187" y="49"/>
                  <a:pt x="169" y="49"/>
                </a:cubicBezTo>
                <a:cubicBezTo>
                  <a:pt x="134" y="49"/>
                  <a:pt x="105" y="76"/>
                  <a:pt x="101" y="110"/>
                </a:cubicBezTo>
                <a:cubicBezTo>
                  <a:pt x="88" y="112"/>
                  <a:pt x="77" y="118"/>
                  <a:pt x="69" y="125"/>
                </a:cubicBezTo>
                <a:cubicBezTo>
                  <a:pt x="62" y="116"/>
                  <a:pt x="50" y="110"/>
                  <a:pt x="37" y="110"/>
                </a:cubicBezTo>
                <a:cubicBezTo>
                  <a:pt x="16" y="110"/>
                  <a:pt x="0" y="126"/>
                  <a:pt x="0" y="147"/>
                </a:cubicBezTo>
                <a:cubicBezTo>
                  <a:pt x="0" y="168"/>
                  <a:pt x="16" y="185"/>
                  <a:pt x="37" y="185"/>
                </a:cubicBezTo>
                <a:cubicBezTo>
                  <a:pt x="48" y="185"/>
                  <a:pt x="48" y="185"/>
                  <a:pt x="48" y="185"/>
                </a:cubicBezTo>
                <a:cubicBezTo>
                  <a:pt x="172" y="185"/>
                  <a:pt x="172" y="185"/>
                  <a:pt x="172" y="185"/>
                </a:cubicBezTo>
                <a:cubicBezTo>
                  <a:pt x="242" y="185"/>
                  <a:pt x="242" y="185"/>
                  <a:pt x="242" y="185"/>
                </a:cubicBezTo>
                <a:cubicBezTo>
                  <a:pt x="409" y="185"/>
                  <a:pt x="409" y="185"/>
                  <a:pt x="409" y="185"/>
                </a:cubicBezTo>
                <a:cubicBezTo>
                  <a:pt x="409" y="185"/>
                  <a:pt x="409" y="185"/>
                  <a:pt x="409" y="185"/>
                </a:cubicBezTo>
                <a:cubicBezTo>
                  <a:pt x="435" y="184"/>
                  <a:pt x="454" y="162"/>
                  <a:pt x="454" y="137"/>
                </a:cubicBezTo>
                <a:cubicBezTo>
                  <a:pt x="454" y="110"/>
                  <a:pt x="432" y="88"/>
                  <a:pt x="405" y="88"/>
                </a:cubicBezTo>
                <a:close/>
              </a:path>
            </a:pathLst>
          </a:custGeom>
          <a:solidFill>
            <a:srgbClr val="FFFFFF">
              <a:alpha val="24000"/>
            </a:srgbClr>
          </a:solidFill>
          <a:ln>
            <a:noFill/>
          </a:ln>
        </p:spPr>
        <p:txBody>
          <a:bodyPr vert="horz" wrap="square" lIns="89592" tIns="44796" rIns="89592" bIns="44796" numCol="1" anchor="t" anchorCtr="0" compatLnSpc="1">
            <a:prstTxWarp prst="textNoShape">
              <a:avLst/>
            </a:prstTxWarp>
          </a:bodyPr>
          <a:lstStyle/>
          <a:p>
            <a:pPr defTabSz="913665"/>
            <a:endParaRPr lang="en-US" sz="1765" kern="0">
              <a:solidFill>
                <a:srgbClr val="505050"/>
              </a:solidFill>
            </a:endParaRPr>
          </a:p>
        </p:txBody>
      </p:sp>
      <p:sp>
        <p:nvSpPr>
          <p:cNvPr id="14" name="Rectangle 13"/>
          <p:cNvSpPr/>
          <p:nvPr/>
        </p:nvSpPr>
        <p:spPr bwMode="auto">
          <a:xfrm>
            <a:off x="269243" y="1816141"/>
            <a:ext cx="3659525" cy="244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lvl="1" defTabSz="913523">
              <a:lnSpc>
                <a:spcPct val="90000"/>
              </a:lnSpc>
            </a:pPr>
            <a:r>
              <a:rPr lang="en-US" sz="3137" kern="0" dirty="0">
                <a:gradFill>
                  <a:gsLst>
                    <a:gs pos="5439">
                      <a:srgbClr val="0078D7"/>
                    </a:gs>
                    <a:gs pos="58000">
                      <a:srgbClr val="0078D7"/>
                    </a:gs>
                  </a:gsLst>
                  <a:lin ang="5400000" scaled="0"/>
                </a:gradFill>
              </a:rPr>
              <a:t>Threat intelligence</a:t>
            </a:r>
          </a:p>
          <a:p>
            <a:pPr marL="0" lvl="1" defTabSz="913523">
              <a:lnSpc>
                <a:spcPct val="90000"/>
              </a:lnSpc>
            </a:pPr>
            <a:r>
              <a:rPr lang="en-US" sz="1568" kern="0" dirty="0">
                <a:gradFill>
                  <a:gsLst>
                    <a:gs pos="5439">
                      <a:srgbClr val="505050"/>
                    </a:gs>
                    <a:gs pos="58000">
                      <a:srgbClr val="505050"/>
                    </a:gs>
                  </a:gsLst>
                  <a:lin ang="5400000" scaled="0"/>
                </a:gradFill>
              </a:rPr>
              <a:t>Looks for known malicious actors</a:t>
            </a:r>
          </a:p>
          <a:p>
            <a:pPr marL="0" lvl="1" defTabSz="913523">
              <a:lnSpc>
                <a:spcPct val="90000"/>
              </a:lnSpc>
            </a:pPr>
            <a:endParaRPr lang="en-US" sz="1568" kern="0" dirty="0">
              <a:gradFill>
                <a:gsLst>
                  <a:gs pos="5439">
                    <a:srgbClr val="505050"/>
                  </a:gs>
                  <a:gs pos="58000">
                    <a:srgbClr val="505050"/>
                  </a:gs>
                </a:gsLst>
                <a:lin ang="5400000" scaled="0"/>
              </a:gradFill>
            </a:endParaRPr>
          </a:p>
          <a:p>
            <a:pPr marL="0" lvl="1" defTabSz="913523">
              <a:lnSpc>
                <a:spcPct val="90000"/>
              </a:lnSpc>
            </a:pPr>
            <a:r>
              <a:rPr lang="en-US" sz="1568" kern="0" dirty="0">
                <a:gradFill>
                  <a:gsLst>
                    <a:gs pos="5439">
                      <a:srgbClr val="505050"/>
                    </a:gs>
                    <a:gs pos="58000">
                      <a:srgbClr val="505050"/>
                    </a:gs>
                  </a:gsLst>
                  <a:lin ang="5400000" scaled="0"/>
                </a:gradFill>
              </a:rPr>
              <a:t>Examples</a:t>
            </a:r>
          </a:p>
          <a:p>
            <a:pPr marL="172742" lvl="1" indent="-172742" defTabSz="913523">
              <a:lnSpc>
                <a:spcPct val="90000"/>
              </a:lnSpc>
              <a:buFont typeface="Wingdings" panose="05000000000000000000" pitchFamily="2" charset="2"/>
              <a:buChar char="§"/>
            </a:pPr>
            <a:r>
              <a:rPr lang="en-US" sz="1568" kern="0" dirty="0">
                <a:gradFill>
                  <a:gsLst>
                    <a:gs pos="5439">
                      <a:srgbClr val="505050"/>
                    </a:gs>
                    <a:gs pos="58000">
                      <a:srgbClr val="505050"/>
                    </a:gs>
                  </a:gsLst>
                  <a:lin ang="5400000" scaled="0"/>
                </a:gradFill>
              </a:rPr>
              <a:t>Network traffic to malicious </a:t>
            </a:r>
            <a:br>
              <a:rPr lang="en-US" sz="1568" kern="0" dirty="0">
                <a:gradFill>
                  <a:gsLst>
                    <a:gs pos="5439">
                      <a:srgbClr val="505050"/>
                    </a:gs>
                    <a:gs pos="58000">
                      <a:srgbClr val="505050"/>
                    </a:gs>
                  </a:gsLst>
                  <a:lin ang="5400000" scaled="0"/>
                </a:gradFill>
              </a:rPr>
            </a:br>
            <a:r>
              <a:rPr lang="en-US" sz="1568" kern="0" dirty="0">
                <a:gradFill>
                  <a:gsLst>
                    <a:gs pos="5439">
                      <a:srgbClr val="505050"/>
                    </a:gs>
                    <a:gs pos="58000">
                      <a:srgbClr val="505050"/>
                    </a:gs>
                  </a:gsLst>
                  <a:lin ang="5400000" scaled="0"/>
                </a:gradFill>
              </a:rPr>
              <a:t>IP address</a:t>
            </a:r>
          </a:p>
          <a:p>
            <a:pPr marL="172742" lvl="1" indent="-172742" defTabSz="913523">
              <a:lnSpc>
                <a:spcPct val="90000"/>
              </a:lnSpc>
              <a:buFont typeface="Wingdings" panose="05000000000000000000" pitchFamily="2" charset="2"/>
              <a:buChar char="§"/>
            </a:pPr>
            <a:r>
              <a:rPr lang="en-US" sz="1568" kern="0" dirty="0">
                <a:gradFill>
                  <a:gsLst>
                    <a:gs pos="5439">
                      <a:srgbClr val="505050"/>
                    </a:gs>
                    <a:gs pos="58000">
                      <a:srgbClr val="505050"/>
                    </a:gs>
                  </a:gsLst>
                  <a:lin ang="5400000" scaled="0"/>
                </a:gradFill>
              </a:rPr>
              <a:t>Malicious process executed</a:t>
            </a:r>
          </a:p>
        </p:txBody>
      </p:sp>
      <p:sp>
        <p:nvSpPr>
          <p:cNvPr id="1340" name="Rectangle 1339"/>
          <p:cNvSpPr/>
          <p:nvPr/>
        </p:nvSpPr>
        <p:spPr bwMode="auto">
          <a:xfrm>
            <a:off x="4020330" y="1816142"/>
            <a:ext cx="3807662" cy="244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0" bIns="143366" numCol="1" spcCol="0" rtlCol="0" fromWordArt="0" anchor="t" anchorCtr="0" forceAA="0" compatLnSpc="1">
            <a:prstTxWarp prst="textNoShape">
              <a:avLst/>
            </a:prstTxWarp>
            <a:noAutofit/>
          </a:bodyPr>
          <a:lstStyle/>
          <a:p>
            <a:pPr marL="0" lvl="1" defTabSz="913523">
              <a:lnSpc>
                <a:spcPct val="90000"/>
              </a:lnSpc>
              <a:defRPr/>
            </a:pPr>
            <a:r>
              <a:rPr lang="en-US" sz="3137" kern="0" dirty="0">
                <a:gradFill>
                  <a:gsLst>
                    <a:gs pos="5439">
                      <a:srgbClr val="0078D7"/>
                    </a:gs>
                    <a:gs pos="58000">
                      <a:srgbClr val="0078D7"/>
                    </a:gs>
                  </a:gsLst>
                  <a:lin ang="5400000" scaled="0"/>
                </a:gradFill>
              </a:rPr>
              <a:t>Behavioral analytics</a:t>
            </a:r>
          </a:p>
          <a:p>
            <a:pPr defTabSz="913841">
              <a:lnSpc>
                <a:spcPct val="90000"/>
              </a:lnSpc>
            </a:pPr>
            <a:r>
              <a:rPr lang="en-US" sz="1568" kern="0" dirty="0">
                <a:gradFill>
                  <a:gsLst>
                    <a:gs pos="5439">
                      <a:srgbClr val="505050"/>
                    </a:gs>
                    <a:gs pos="58000">
                      <a:srgbClr val="505050"/>
                    </a:gs>
                  </a:gsLst>
                  <a:lin ang="5400000" scaled="0"/>
                </a:gradFill>
              </a:rPr>
              <a:t>Looks for known patterns and </a:t>
            </a:r>
            <a:br>
              <a:rPr lang="en-US" sz="1568" kern="0" dirty="0">
                <a:gradFill>
                  <a:gsLst>
                    <a:gs pos="5439">
                      <a:srgbClr val="505050"/>
                    </a:gs>
                    <a:gs pos="58000">
                      <a:srgbClr val="505050"/>
                    </a:gs>
                  </a:gsLst>
                  <a:lin ang="5400000" scaled="0"/>
                </a:gradFill>
              </a:rPr>
            </a:br>
            <a:r>
              <a:rPr lang="en-US" sz="1568" kern="0" dirty="0">
                <a:gradFill>
                  <a:gsLst>
                    <a:gs pos="5439">
                      <a:srgbClr val="505050"/>
                    </a:gs>
                    <a:gs pos="58000">
                      <a:srgbClr val="505050"/>
                    </a:gs>
                  </a:gsLst>
                  <a:lin ang="5400000" scaled="0"/>
                </a:gradFill>
              </a:rPr>
              <a:t>malicious behaviors</a:t>
            </a:r>
          </a:p>
          <a:p>
            <a:pPr defTabSz="913841">
              <a:lnSpc>
                <a:spcPct val="90000"/>
              </a:lnSpc>
            </a:pPr>
            <a:endParaRPr lang="en-US" sz="1568" kern="0" dirty="0">
              <a:gradFill>
                <a:gsLst>
                  <a:gs pos="5439">
                    <a:srgbClr val="505050"/>
                  </a:gs>
                  <a:gs pos="58000">
                    <a:srgbClr val="505050"/>
                  </a:gs>
                </a:gsLst>
                <a:lin ang="5400000" scaled="0"/>
              </a:gradFill>
            </a:endParaRPr>
          </a:p>
          <a:p>
            <a:pPr defTabSz="913841">
              <a:lnSpc>
                <a:spcPct val="90000"/>
              </a:lnSpc>
            </a:pPr>
            <a:r>
              <a:rPr lang="en-US" sz="1568" kern="0" dirty="0">
                <a:gradFill>
                  <a:gsLst>
                    <a:gs pos="5439">
                      <a:srgbClr val="505050"/>
                    </a:gs>
                    <a:gs pos="58000">
                      <a:srgbClr val="505050"/>
                    </a:gs>
                  </a:gsLst>
                  <a:lin ang="5400000" scaled="0"/>
                </a:gradFill>
              </a:rPr>
              <a:t>Examples</a:t>
            </a:r>
          </a:p>
          <a:p>
            <a:pPr marL="172742" lvl="1" indent="-172742" defTabSz="913523">
              <a:lnSpc>
                <a:spcPct val="90000"/>
              </a:lnSpc>
              <a:buFont typeface="Wingdings" panose="05000000000000000000" pitchFamily="2" charset="2"/>
              <a:buChar char="§"/>
            </a:pPr>
            <a:r>
              <a:rPr lang="en-US" sz="1568" kern="0" dirty="0">
                <a:gradFill>
                  <a:gsLst>
                    <a:gs pos="5439">
                      <a:srgbClr val="505050"/>
                    </a:gs>
                    <a:gs pos="58000">
                      <a:srgbClr val="505050"/>
                    </a:gs>
                  </a:gsLst>
                  <a:lin ang="5400000" scaled="0"/>
                </a:gradFill>
              </a:rPr>
              <a:t>Process executed in a suspicious manner</a:t>
            </a:r>
          </a:p>
          <a:p>
            <a:pPr marL="172742" lvl="1" indent="-172742" defTabSz="913523">
              <a:lnSpc>
                <a:spcPct val="90000"/>
              </a:lnSpc>
              <a:buFont typeface="Wingdings" panose="05000000000000000000" pitchFamily="2" charset="2"/>
              <a:buChar char="§"/>
            </a:pPr>
            <a:r>
              <a:rPr lang="en-US" sz="1568" kern="0" dirty="0">
                <a:gradFill>
                  <a:gsLst>
                    <a:gs pos="5439">
                      <a:srgbClr val="505050"/>
                    </a:gs>
                    <a:gs pos="58000">
                      <a:srgbClr val="505050"/>
                    </a:gs>
                  </a:gsLst>
                  <a:lin ang="5400000" scaled="0"/>
                </a:gradFill>
              </a:rPr>
              <a:t>VM started sending spam email </a:t>
            </a:r>
          </a:p>
        </p:txBody>
      </p:sp>
      <p:sp>
        <p:nvSpPr>
          <p:cNvPr id="2" name="Title 1"/>
          <p:cNvSpPr>
            <a:spLocks noGrp="1"/>
          </p:cNvSpPr>
          <p:nvPr>
            <p:ph type="title"/>
          </p:nvPr>
        </p:nvSpPr>
        <p:spPr/>
        <p:txBody>
          <a:bodyPr/>
          <a:lstStyle/>
          <a:p>
            <a:r>
              <a:rPr lang="en-US" dirty="0">
                <a:solidFill>
                  <a:srgbClr val="004BBB"/>
                </a:solidFill>
              </a:rPr>
              <a:t>Advanced detection capabilities</a:t>
            </a:r>
          </a:p>
        </p:txBody>
      </p:sp>
      <p:sp>
        <p:nvSpPr>
          <p:cNvPr id="28" name="Rectangle 27"/>
          <p:cNvSpPr/>
          <p:nvPr/>
        </p:nvSpPr>
        <p:spPr bwMode="auto">
          <a:xfrm>
            <a:off x="7919554" y="1816142"/>
            <a:ext cx="3886485" cy="4571371"/>
          </a:xfrm>
          <a:prstGeom prst="rect">
            <a:avLst/>
          </a:prstGeom>
          <a:solidFill>
            <a:schemeClr val="bg2">
              <a:lumMod val="90000"/>
            </a:schemeClr>
          </a:solidFill>
          <a:ln w="9525" cap="flat" cmpd="sng" algn="ctr">
            <a:noFill/>
            <a:prstDash val="solid"/>
            <a:headEnd type="none" w="med" len="med"/>
            <a:tailEnd type="none" w="med" len="med"/>
          </a:ln>
          <a:effectLst/>
        </p:spPr>
        <p:txBody>
          <a:bodyPr lIns="179183" tIns="143346" rIns="179183" bIns="143346"/>
          <a:lstStyle/>
          <a:p>
            <a:pPr marL="0" lvl="1" defTabSz="913523">
              <a:lnSpc>
                <a:spcPct val="90000"/>
              </a:lnSpc>
              <a:defRPr/>
            </a:pPr>
            <a:r>
              <a:rPr lang="en-US" sz="3137" kern="0" dirty="0">
                <a:gradFill>
                  <a:gsLst>
                    <a:gs pos="5439">
                      <a:srgbClr val="0078D7"/>
                    </a:gs>
                    <a:gs pos="58000">
                      <a:srgbClr val="0078D7"/>
                    </a:gs>
                  </a:gsLst>
                  <a:lin ang="5400000" scaled="0"/>
                </a:gradFill>
              </a:rPr>
              <a:t>Anomaly detection</a:t>
            </a:r>
          </a:p>
          <a:p>
            <a:pPr marL="0" lvl="1" defTabSz="913523">
              <a:lnSpc>
                <a:spcPct val="90000"/>
              </a:lnSpc>
            </a:pPr>
            <a:r>
              <a:rPr lang="en-US" sz="1568" kern="0" dirty="0">
                <a:gradFill>
                  <a:gsLst>
                    <a:gs pos="5439">
                      <a:srgbClr val="505050"/>
                    </a:gs>
                    <a:gs pos="58000">
                      <a:srgbClr val="505050"/>
                    </a:gs>
                  </a:gsLst>
                  <a:lin ang="5400000" scaled="0"/>
                </a:gradFill>
              </a:rPr>
              <a:t>Uses statistical profiling to build historical baselines</a:t>
            </a:r>
          </a:p>
          <a:p>
            <a:pPr marL="0" lvl="1" defTabSz="913523">
              <a:lnSpc>
                <a:spcPct val="90000"/>
              </a:lnSpc>
              <a:spcBef>
                <a:spcPts val="588"/>
              </a:spcBef>
            </a:pPr>
            <a:r>
              <a:rPr lang="en-US" sz="1568" kern="0" dirty="0">
                <a:gradFill>
                  <a:gsLst>
                    <a:gs pos="5439">
                      <a:srgbClr val="505050"/>
                    </a:gs>
                    <a:gs pos="58000">
                      <a:srgbClr val="505050"/>
                    </a:gs>
                  </a:gsLst>
                  <a:lin ang="5400000" scaled="0"/>
                </a:gradFill>
              </a:rPr>
              <a:t>Alert on deviations that conform </a:t>
            </a:r>
            <a:br>
              <a:rPr lang="en-US" sz="1568" kern="0" dirty="0">
                <a:gradFill>
                  <a:gsLst>
                    <a:gs pos="5439">
                      <a:srgbClr val="505050"/>
                    </a:gs>
                    <a:gs pos="58000">
                      <a:srgbClr val="505050"/>
                    </a:gs>
                  </a:gsLst>
                  <a:lin ang="5400000" scaled="0"/>
                </a:gradFill>
              </a:rPr>
            </a:br>
            <a:r>
              <a:rPr lang="en-US" sz="1568" kern="0" dirty="0">
                <a:gradFill>
                  <a:gsLst>
                    <a:gs pos="5439">
                      <a:srgbClr val="505050"/>
                    </a:gs>
                    <a:gs pos="58000">
                      <a:srgbClr val="505050"/>
                    </a:gs>
                  </a:gsLst>
                  <a:lin ang="5400000" scaled="0"/>
                </a:gradFill>
              </a:rPr>
              <a:t>to a potential attack vector</a:t>
            </a:r>
          </a:p>
          <a:p>
            <a:pPr marL="0" lvl="1" defTabSz="913523">
              <a:lnSpc>
                <a:spcPct val="90000"/>
              </a:lnSpc>
            </a:pPr>
            <a:endParaRPr lang="en-US" sz="1568" kern="0" dirty="0">
              <a:gradFill>
                <a:gsLst>
                  <a:gs pos="5439">
                    <a:srgbClr val="505050"/>
                  </a:gs>
                  <a:gs pos="58000">
                    <a:srgbClr val="505050"/>
                  </a:gs>
                </a:gsLst>
                <a:lin ang="5400000" scaled="0"/>
              </a:gradFill>
            </a:endParaRPr>
          </a:p>
          <a:p>
            <a:pPr marL="0" lvl="1" defTabSz="913523">
              <a:lnSpc>
                <a:spcPct val="90000"/>
              </a:lnSpc>
            </a:pPr>
            <a:r>
              <a:rPr lang="en-US" sz="1568" kern="0" dirty="0">
                <a:gradFill>
                  <a:gsLst>
                    <a:gs pos="5439">
                      <a:srgbClr val="505050"/>
                    </a:gs>
                    <a:gs pos="58000">
                      <a:srgbClr val="505050"/>
                    </a:gs>
                  </a:gsLst>
                  <a:lin ang="5400000" scaled="0"/>
                </a:gradFill>
              </a:rPr>
              <a:t>Example</a:t>
            </a:r>
          </a:p>
          <a:p>
            <a:pPr marL="172742" lvl="1" indent="-172742" defTabSz="913523">
              <a:lnSpc>
                <a:spcPct val="90000"/>
              </a:lnSpc>
              <a:buFont typeface="Wingdings" panose="05000000000000000000" pitchFamily="2" charset="2"/>
              <a:buChar char="§"/>
            </a:pPr>
            <a:r>
              <a:rPr lang="en-US" sz="1568" kern="0" dirty="0">
                <a:gradFill>
                  <a:gsLst>
                    <a:gs pos="5439">
                      <a:srgbClr val="505050"/>
                    </a:gs>
                    <a:gs pos="58000">
                      <a:srgbClr val="505050"/>
                    </a:gs>
                  </a:gsLst>
                  <a:lin ang="5400000" scaled="0"/>
                </a:gradFill>
              </a:rPr>
              <a:t>Remote desktop connections </a:t>
            </a:r>
            <a:br>
              <a:rPr lang="en-US" sz="1568" kern="0" dirty="0">
                <a:gradFill>
                  <a:gsLst>
                    <a:gs pos="5439">
                      <a:srgbClr val="505050"/>
                    </a:gs>
                    <a:gs pos="58000">
                      <a:srgbClr val="505050"/>
                    </a:gs>
                  </a:gsLst>
                  <a:lin ang="5400000" scaled="0"/>
                </a:gradFill>
              </a:rPr>
            </a:br>
            <a:r>
              <a:rPr lang="en-US" sz="1568" kern="0" dirty="0">
                <a:gradFill>
                  <a:gsLst>
                    <a:gs pos="5439">
                      <a:srgbClr val="505050"/>
                    </a:gs>
                    <a:gs pos="58000">
                      <a:srgbClr val="505050"/>
                    </a:gs>
                  </a:gsLst>
                  <a:lin ang="5400000" scaled="0"/>
                </a:gradFill>
              </a:rPr>
              <a:t>to a specific VM typically occur </a:t>
            </a:r>
            <a:br>
              <a:rPr lang="en-US" sz="1568" kern="0" dirty="0">
                <a:gradFill>
                  <a:gsLst>
                    <a:gs pos="5439">
                      <a:srgbClr val="505050"/>
                    </a:gs>
                    <a:gs pos="58000">
                      <a:srgbClr val="505050"/>
                    </a:gs>
                  </a:gsLst>
                  <a:lin ang="5400000" scaled="0"/>
                </a:gradFill>
              </a:rPr>
            </a:br>
            <a:r>
              <a:rPr lang="en-US" sz="1568" kern="0" dirty="0">
                <a:gradFill>
                  <a:gsLst>
                    <a:gs pos="5439">
                      <a:srgbClr val="505050"/>
                    </a:gs>
                    <a:gs pos="58000">
                      <a:srgbClr val="505050"/>
                    </a:gs>
                  </a:gsLst>
                  <a:lin ang="5400000" scaled="0"/>
                </a:gradFill>
              </a:rPr>
              <a:t>5 times a day, today there were </a:t>
            </a:r>
            <a:br>
              <a:rPr lang="en-US" sz="1568" kern="0" dirty="0">
                <a:gradFill>
                  <a:gsLst>
                    <a:gs pos="5439">
                      <a:srgbClr val="505050"/>
                    </a:gs>
                    <a:gs pos="58000">
                      <a:srgbClr val="505050"/>
                    </a:gs>
                  </a:gsLst>
                  <a:lin ang="5400000" scaled="0"/>
                </a:gradFill>
              </a:rPr>
            </a:br>
            <a:r>
              <a:rPr lang="en-US" sz="1568" kern="0" dirty="0">
                <a:gradFill>
                  <a:gsLst>
                    <a:gs pos="5439">
                      <a:srgbClr val="505050"/>
                    </a:gs>
                    <a:gs pos="58000">
                      <a:srgbClr val="505050"/>
                    </a:gs>
                  </a:gsLst>
                  <a:lin ang="5400000" scaled="0"/>
                </a:gradFill>
              </a:rPr>
              <a:t>100 connection attempts</a:t>
            </a:r>
          </a:p>
        </p:txBody>
      </p:sp>
      <p:grpSp>
        <p:nvGrpSpPr>
          <p:cNvPr id="8" name="Group 7"/>
          <p:cNvGrpSpPr/>
          <p:nvPr/>
        </p:nvGrpSpPr>
        <p:grpSpPr>
          <a:xfrm>
            <a:off x="4973784" y="3486633"/>
            <a:ext cx="6569382" cy="2805142"/>
            <a:chOff x="3477945" y="3406432"/>
            <a:chExt cx="8301136" cy="3544604"/>
          </a:xfrm>
          <a:solidFill>
            <a:schemeClr val="tx1">
              <a:lumMod val="60000"/>
              <a:lumOff val="40000"/>
            </a:schemeClr>
          </a:solidFill>
        </p:grpSpPr>
        <p:cxnSp>
          <p:nvCxnSpPr>
            <p:cNvPr id="67" name="Straight Connector 1441"/>
            <p:cNvCxnSpPr>
              <a:cxnSpLocks noChangeShapeType="1"/>
              <a:stCxn id="84" idx="0"/>
              <a:endCxn id="83" idx="4"/>
            </p:cNvCxnSpPr>
            <p:nvPr/>
          </p:nvCxnSpPr>
          <p:spPr bwMode="auto">
            <a:xfrm flipH="1" flipV="1">
              <a:off x="7173660" y="4436045"/>
              <a:ext cx="492561" cy="1108974"/>
            </a:xfrm>
            <a:prstGeom prst="line">
              <a:avLst/>
            </a:prstGeom>
            <a:grpFill/>
            <a:ln w="28575" algn="ctr">
              <a:solidFill>
                <a:srgbClr val="969696"/>
              </a:solidFill>
              <a:round/>
              <a:headEnd/>
              <a:tailEnd/>
            </a:ln>
          </p:spPr>
        </p:cxnSp>
        <p:grpSp>
          <p:nvGrpSpPr>
            <p:cNvPr id="68" name="Group 1247"/>
            <p:cNvGrpSpPr>
              <a:grpSpLocks/>
            </p:cNvGrpSpPr>
            <p:nvPr/>
          </p:nvGrpSpPr>
          <p:grpSpPr bwMode="auto">
            <a:xfrm rot="20992678">
              <a:off x="5564716" y="4326511"/>
              <a:ext cx="3503514" cy="2177062"/>
              <a:chOff x="-689528" y="-249998"/>
              <a:chExt cx="5285691" cy="3206697"/>
            </a:xfrm>
            <a:grpFill/>
          </p:grpSpPr>
          <p:cxnSp>
            <p:nvCxnSpPr>
              <p:cNvPr id="69" name="Straight Connector 1439"/>
              <p:cNvCxnSpPr>
                <a:cxnSpLocks noChangeShapeType="1"/>
                <a:stCxn id="86" idx="4"/>
                <a:endCxn id="84" idx="2"/>
              </p:cNvCxnSpPr>
              <p:nvPr/>
            </p:nvCxnSpPr>
            <p:spPr bwMode="auto">
              <a:xfrm rot="607322">
                <a:off x="-689528" y="-249998"/>
                <a:ext cx="2860288" cy="1862564"/>
              </a:xfrm>
              <a:prstGeom prst="line">
                <a:avLst/>
              </a:prstGeom>
              <a:grpFill/>
              <a:ln w="28575" algn="ctr">
                <a:solidFill>
                  <a:srgbClr val="969696"/>
                </a:solidFill>
                <a:round/>
                <a:headEnd/>
                <a:tailEnd/>
              </a:ln>
            </p:spPr>
          </p:cxnSp>
          <p:cxnSp>
            <p:nvCxnSpPr>
              <p:cNvPr id="70" name="Straight Connector 1441"/>
              <p:cNvCxnSpPr>
                <a:cxnSpLocks noChangeShapeType="1"/>
                <a:endCxn id="85" idx="2"/>
              </p:cNvCxnSpPr>
              <p:nvPr/>
            </p:nvCxnSpPr>
            <p:spPr bwMode="auto">
              <a:xfrm rot="607322">
                <a:off x="2363547" y="2331818"/>
                <a:ext cx="2232616" cy="624881"/>
              </a:xfrm>
              <a:prstGeom prst="line">
                <a:avLst/>
              </a:prstGeom>
              <a:grpFill/>
              <a:ln w="28575" algn="ctr">
                <a:solidFill>
                  <a:srgbClr val="969696"/>
                </a:solidFill>
                <a:round/>
                <a:headEnd/>
                <a:tailEnd/>
              </a:ln>
            </p:spPr>
          </p:cxnSp>
        </p:grpSp>
        <p:sp>
          <p:nvSpPr>
            <p:cNvPr id="71" name="Oval 70"/>
            <p:cNvSpPr/>
            <p:nvPr/>
          </p:nvSpPr>
          <p:spPr bwMode="auto">
            <a:xfrm rot="20992678">
              <a:off x="7301813" y="6583883"/>
              <a:ext cx="182221" cy="186640"/>
            </a:xfrm>
            <a:prstGeom prst="ellipse">
              <a:avLst/>
            </a:prstGeom>
            <a:grpFill/>
            <a:ln w="10795" cap="flat" cmpd="sng" algn="ctr">
              <a:noFill/>
              <a:prstDash val="solid"/>
            </a:ln>
            <a:effectLst/>
          </p:spPr>
        </p:sp>
        <p:sp>
          <p:nvSpPr>
            <p:cNvPr id="72" name="Oval 71"/>
            <p:cNvSpPr/>
            <p:nvPr/>
          </p:nvSpPr>
          <p:spPr bwMode="auto">
            <a:xfrm rot="20992678">
              <a:off x="7780555" y="4998363"/>
              <a:ext cx="286345" cy="293294"/>
            </a:xfrm>
            <a:prstGeom prst="ellipse">
              <a:avLst/>
            </a:prstGeom>
            <a:grpFill/>
            <a:ln w="10795" cap="flat" cmpd="sng" algn="ctr">
              <a:noFill/>
              <a:prstDash val="solid"/>
            </a:ln>
            <a:effectLst/>
          </p:spPr>
        </p:sp>
        <p:sp>
          <p:nvSpPr>
            <p:cNvPr id="73" name="Oval 72"/>
            <p:cNvSpPr/>
            <p:nvPr/>
          </p:nvSpPr>
          <p:spPr bwMode="auto">
            <a:xfrm rot="20992678">
              <a:off x="7239565" y="5256813"/>
              <a:ext cx="182221" cy="186640"/>
            </a:xfrm>
            <a:prstGeom prst="ellipse">
              <a:avLst/>
            </a:prstGeom>
            <a:grpFill/>
            <a:ln w="10795" cap="flat" cmpd="sng" algn="ctr">
              <a:noFill/>
              <a:prstDash val="solid"/>
            </a:ln>
            <a:effectLst/>
          </p:spPr>
        </p:sp>
        <p:sp>
          <p:nvSpPr>
            <p:cNvPr id="74" name="Oval 73"/>
            <p:cNvSpPr/>
            <p:nvPr/>
          </p:nvSpPr>
          <p:spPr bwMode="auto">
            <a:xfrm rot="20992678">
              <a:off x="10485623" y="5537130"/>
              <a:ext cx="350420" cy="358920"/>
            </a:xfrm>
            <a:prstGeom prst="ellipse">
              <a:avLst/>
            </a:prstGeom>
            <a:grpFill/>
            <a:ln w="57150" cap="flat" cmpd="sng" algn="ctr">
              <a:noFill/>
              <a:prstDash val="solid"/>
            </a:ln>
            <a:effectLst/>
          </p:spPr>
        </p:sp>
        <p:sp>
          <p:nvSpPr>
            <p:cNvPr id="75" name="Oval 74"/>
            <p:cNvSpPr/>
            <p:nvPr/>
          </p:nvSpPr>
          <p:spPr bwMode="auto">
            <a:xfrm rot="20992678">
              <a:off x="7717147" y="6279892"/>
              <a:ext cx="182221" cy="186641"/>
            </a:xfrm>
            <a:prstGeom prst="ellipse">
              <a:avLst/>
            </a:prstGeom>
            <a:grpFill/>
            <a:ln w="10795" cap="flat" cmpd="sng" algn="ctr">
              <a:noFill/>
              <a:prstDash val="solid"/>
            </a:ln>
            <a:effectLst/>
          </p:spPr>
        </p:sp>
        <p:sp>
          <p:nvSpPr>
            <p:cNvPr id="76" name="Oval 75"/>
            <p:cNvSpPr/>
            <p:nvPr/>
          </p:nvSpPr>
          <p:spPr bwMode="auto">
            <a:xfrm rot="20992678">
              <a:off x="8192944" y="5387556"/>
              <a:ext cx="286345" cy="293294"/>
            </a:xfrm>
            <a:prstGeom prst="ellipse">
              <a:avLst/>
            </a:prstGeom>
            <a:grpFill/>
            <a:ln w="10795" cap="flat" cmpd="sng" algn="ctr">
              <a:noFill/>
              <a:prstDash val="solid"/>
            </a:ln>
            <a:effectLst/>
          </p:spPr>
        </p:sp>
        <p:sp>
          <p:nvSpPr>
            <p:cNvPr id="77" name="Oval 76"/>
            <p:cNvSpPr/>
            <p:nvPr/>
          </p:nvSpPr>
          <p:spPr bwMode="auto">
            <a:xfrm rot="20992678">
              <a:off x="8644939" y="6426365"/>
              <a:ext cx="182221" cy="186641"/>
            </a:xfrm>
            <a:prstGeom prst="ellipse">
              <a:avLst/>
            </a:prstGeom>
            <a:grpFill/>
            <a:ln w="10795" cap="flat" cmpd="sng" algn="ctr">
              <a:noFill/>
              <a:prstDash val="solid"/>
            </a:ln>
            <a:effectLst/>
          </p:spPr>
        </p:sp>
        <p:sp>
          <p:nvSpPr>
            <p:cNvPr id="78" name="Oval 77"/>
            <p:cNvSpPr/>
            <p:nvPr/>
          </p:nvSpPr>
          <p:spPr bwMode="auto">
            <a:xfrm rot="20992678">
              <a:off x="7931777" y="6471101"/>
              <a:ext cx="468566" cy="479935"/>
            </a:xfrm>
            <a:prstGeom prst="ellipse">
              <a:avLst/>
            </a:prstGeom>
            <a:grpFill/>
            <a:ln w="57150" cap="flat" cmpd="sng" algn="ctr">
              <a:noFill/>
              <a:prstDash val="solid"/>
            </a:ln>
            <a:effectLst/>
          </p:spPr>
        </p:sp>
        <p:sp>
          <p:nvSpPr>
            <p:cNvPr id="79" name="Oval 78"/>
            <p:cNvSpPr/>
            <p:nvPr/>
          </p:nvSpPr>
          <p:spPr bwMode="auto">
            <a:xfrm rot="17849378">
              <a:off x="6636609" y="5868179"/>
              <a:ext cx="293294" cy="286345"/>
            </a:xfrm>
            <a:prstGeom prst="ellipse">
              <a:avLst/>
            </a:prstGeom>
            <a:grpFill/>
            <a:ln w="10795" cap="flat" cmpd="sng" algn="ctr">
              <a:noFill/>
              <a:prstDash val="solid"/>
            </a:ln>
            <a:effectLst/>
          </p:spPr>
        </p:sp>
        <p:sp>
          <p:nvSpPr>
            <p:cNvPr id="80" name="Oval 79"/>
            <p:cNvSpPr/>
            <p:nvPr/>
          </p:nvSpPr>
          <p:spPr bwMode="auto">
            <a:xfrm rot="17849378">
              <a:off x="4191485" y="4580239"/>
              <a:ext cx="186641" cy="182221"/>
            </a:xfrm>
            <a:prstGeom prst="ellipse">
              <a:avLst/>
            </a:prstGeom>
            <a:grpFill/>
            <a:ln w="10795" cap="flat" cmpd="sng" algn="ctr">
              <a:noFill/>
              <a:prstDash val="solid"/>
            </a:ln>
            <a:effectLst/>
          </p:spPr>
        </p:sp>
        <p:sp>
          <p:nvSpPr>
            <p:cNvPr id="81" name="Oval 80"/>
            <p:cNvSpPr/>
            <p:nvPr/>
          </p:nvSpPr>
          <p:spPr bwMode="auto">
            <a:xfrm rot="17849378">
              <a:off x="5230650" y="5637794"/>
              <a:ext cx="296353" cy="289333"/>
            </a:xfrm>
            <a:prstGeom prst="ellipse">
              <a:avLst/>
            </a:prstGeom>
            <a:grpFill/>
            <a:ln w="57150" cap="flat" cmpd="sng" algn="ctr">
              <a:noFill/>
              <a:prstDash val="solid"/>
            </a:ln>
            <a:effectLst/>
          </p:spPr>
        </p:sp>
        <p:sp>
          <p:nvSpPr>
            <p:cNvPr id="82" name="Oval 81"/>
            <p:cNvSpPr/>
            <p:nvPr/>
          </p:nvSpPr>
          <p:spPr bwMode="auto">
            <a:xfrm rot="17849378">
              <a:off x="6376246" y="5504925"/>
              <a:ext cx="238731" cy="233076"/>
            </a:xfrm>
            <a:prstGeom prst="ellipse">
              <a:avLst/>
            </a:prstGeom>
            <a:grpFill/>
            <a:ln w="10795" cap="flat" cmpd="sng" algn="ctr">
              <a:noFill/>
              <a:prstDash val="solid"/>
            </a:ln>
            <a:effectLst/>
          </p:spPr>
        </p:sp>
        <p:sp>
          <p:nvSpPr>
            <p:cNvPr id="83" name="Oval 1254"/>
            <p:cNvSpPr>
              <a:spLocks noChangeArrowheads="1"/>
            </p:cNvSpPr>
            <p:nvPr/>
          </p:nvSpPr>
          <p:spPr bwMode="auto">
            <a:xfrm rot="20992678">
              <a:off x="6885506" y="3939700"/>
              <a:ext cx="488392" cy="500239"/>
            </a:xfrm>
            <a:prstGeom prst="ellipse">
              <a:avLst/>
            </a:prstGeom>
            <a:solidFill>
              <a:schemeClr val="accent1"/>
            </a:solidFill>
            <a:ln w="38100" algn="ctr">
              <a:noFill/>
              <a:round/>
              <a:headEnd/>
              <a:tailEnd/>
            </a:ln>
          </p:spPr>
          <p:txBody>
            <a:bodyPr/>
            <a:lstStyle/>
            <a:p>
              <a:pPr defTabSz="913841">
                <a:defRPr/>
              </a:pPr>
              <a:endParaRPr lang="en-US" altLang="en-US" sz="1727" kern="0">
                <a:solidFill>
                  <a:srgbClr val="FFFFFF"/>
                </a:solidFill>
                <a:ea typeface="MS PGothic" panose="020B0600070205080204" pitchFamily="34" charset="-128"/>
              </a:endParaRPr>
            </a:p>
          </p:txBody>
        </p:sp>
        <p:sp>
          <p:nvSpPr>
            <p:cNvPr id="84" name="Oval 1255"/>
            <p:cNvSpPr>
              <a:spLocks noChangeArrowheads="1"/>
            </p:cNvSpPr>
            <p:nvPr/>
          </p:nvSpPr>
          <p:spPr bwMode="auto">
            <a:xfrm rot="615912">
              <a:off x="7389174" y="5541177"/>
              <a:ext cx="468566" cy="479934"/>
            </a:xfrm>
            <a:prstGeom prst="ellipse">
              <a:avLst/>
            </a:prstGeom>
            <a:solidFill>
              <a:schemeClr val="accent1"/>
            </a:solidFill>
            <a:ln w="38100" algn="ctr">
              <a:noFill/>
              <a:round/>
              <a:headEnd/>
              <a:tailEnd/>
            </a:ln>
          </p:spPr>
          <p:txBody>
            <a:bodyPr/>
            <a:lstStyle/>
            <a:p>
              <a:pPr defTabSz="913841">
                <a:defRPr/>
              </a:pPr>
              <a:endParaRPr lang="en-US" altLang="en-US" sz="1727" kern="0">
                <a:solidFill>
                  <a:srgbClr val="FFFFFF"/>
                </a:solidFill>
                <a:ea typeface="MS PGothic" panose="020B0600070205080204" pitchFamily="34" charset="-128"/>
              </a:endParaRPr>
            </a:p>
          </p:txBody>
        </p:sp>
        <p:sp>
          <p:nvSpPr>
            <p:cNvPr id="85" name="Oval 1256"/>
            <p:cNvSpPr>
              <a:spLocks noChangeArrowheads="1"/>
            </p:cNvSpPr>
            <p:nvPr/>
          </p:nvSpPr>
          <p:spPr bwMode="auto">
            <a:xfrm rot="20992678">
              <a:off x="9203973" y="6116948"/>
              <a:ext cx="325260" cy="333151"/>
            </a:xfrm>
            <a:prstGeom prst="ellipse">
              <a:avLst/>
            </a:prstGeom>
            <a:solidFill>
              <a:schemeClr val="accent1"/>
            </a:solidFill>
            <a:ln w="38100" algn="ctr">
              <a:noFill/>
              <a:round/>
              <a:headEnd/>
              <a:tailEnd/>
            </a:ln>
          </p:spPr>
          <p:txBody>
            <a:bodyPr/>
            <a:lstStyle/>
            <a:p>
              <a:pPr defTabSz="913841">
                <a:defRPr/>
              </a:pPr>
              <a:endParaRPr lang="en-US" altLang="en-US" sz="1727" kern="0">
                <a:solidFill>
                  <a:srgbClr val="FFFFFF"/>
                </a:solidFill>
                <a:ea typeface="MS PGothic" panose="020B0600070205080204" pitchFamily="34" charset="-128"/>
              </a:endParaRPr>
            </a:p>
          </p:txBody>
        </p:sp>
        <p:sp>
          <p:nvSpPr>
            <p:cNvPr id="86" name="Oval 1257"/>
            <p:cNvSpPr>
              <a:spLocks noChangeArrowheads="1"/>
            </p:cNvSpPr>
            <p:nvPr/>
          </p:nvSpPr>
          <p:spPr bwMode="auto">
            <a:xfrm rot="17849378">
              <a:off x="5049242" y="4132454"/>
              <a:ext cx="479934" cy="468566"/>
            </a:xfrm>
            <a:prstGeom prst="ellipse">
              <a:avLst/>
            </a:prstGeom>
            <a:solidFill>
              <a:schemeClr val="accent1"/>
            </a:solidFill>
            <a:ln w="38100" algn="ctr">
              <a:noFill/>
              <a:round/>
              <a:headEnd/>
              <a:tailEnd/>
            </a:ln>
          </p:spPr>
          <p:txBody>
            <a:bodyPr/>
            <a:lstStyle/>
            <a:p>
              <a:pPr defTabSz="913841">
                <a:defRPr/>
              </a:pPr>
              <a:endParaRPr lang="en-US" altLang="en-US" sz="1727" kern="0" dirty="0">
                <a:solidFill>
                  <a:srgbClr val="FFFFFF"/>
                </a:solidFill>
                <a:ea typeface="MS PGothic" panose="020B0600070205080204" pitchFamily="34" charset="-128"/>
              </a:endParaRPr>
            </a:p>
          </p:txBody>
        </p:sp>
        <p:sp>
          <p:nvSpPr>
            <p:cNvPr id="87" name="Oval 86"/>
            <p:cNvSpPr/>
            <p:nvPr/>
          </p:nvSpPr>
          <p:spPr bwMode="auto">
            <a:xfrm rot="20992678">
              <a:off x="3477945" y="4580973"/>
              <a:ext cx="416505" cy="426610"/>
            </a:xfrm>
            <a:prstGeom prst="ellipse">
              <a:avLst/>
            </a:prstGeom>
            <a:grpFill/>
            <a:ln w="10795" cap="flat" cmpd="sng" algn="ctr">
              <a:noFill/>
              <a:prstDash val="solid"/>
            </a:ln>
            <a:effectLst/>
          </p:spPr>
        </p:sp>
        <p:sp>
          <p:nvSpPr>
            <p:cNvPr id="88" name="Oval 87"/>
            <p:cNvSpPr/>
            <p:nvPr/>
          </p:nvSpPr>
          <p:spPr bwMode="auto">
            <a:xfrm rot="20992678">
              <a:off x="6575394" y="4621202"/>
              <a:ext cx="286345" cy="293294"/>
            </a:xfrm>
            <a:prstGeom prst="ellipse">
              <a:avLst/>
            </a:prstGeom>
            <a:grpFill/>
            <a:ln w="10795" cap="flat" cmpd="sng" algn="ctr">
              <a:noFill/>
              <a:prstDash val="solid"/>
            </a:ln>
            <a:effectLst/>
          </p:spPr>
        </p:sp>
        <p:sp>
          <p:nvSpPr>
            <p:cNvPr id="89" name="Oval 88"/>
            <p:cNvSpPr/>
            <p:nvPr/>
          </p:nvSpPr>
          <p:spPr bwMode="auto">
            <a:xfrm rot="17849378">
              <a:off x="4585521" y="4716276"/>
              <a:ext cx="426610" cy="416505"/>
            </a:xfrm>
            <a:prstGeom prst="ellipse">
              <a:avLst/>
            </a:prstGeom>
            <a:grpFill/>
            <a:ln w="10795" cap="flat" cmpd="sng" algn="ctr">
              <a:noFill/>
              <a:prstDash val="solid"/>
            </a:ln>
            <a:effectLst/>
          </p:spPr>
        </p:sp>
        <p:sp>
          <p:nvSpPr>
            <p:cNvPr id="90" name="Oval 89"/>
            <p:cNvSpPr/>
            <p:nvPr/>
          </p:nvSpPr>
          <p:spPr bwMode="auto">
            <a:xfrm rot="20992678">
              <a:off x="8641291" y="5041716"/>
              <a:ext cx="251127" cy="257220"/>
            </a:xfrm>
            <a:prstGeom prst="ellipse">
              <a:avLst/>
            </a:prstGeom>
            <a:grpFill/>
            <a:ln w="10795" cap="flat" cmpd="sng" algn="ctr">
              <a:noFill/>
              <a:prstDash val="solid"/>
            </a:ln>
            <a:effectLst/>
          </p:spPr>
        </p:sp>
        <p:sp>
          <p:nvSpPr>
            <p:cNvPr id="91" name="Oval 90"/>
            <p:cNvSpPr/>
            <p:nvPr/>
          </p:nvSpPr>
          <p:spPr bwMode="auto">
            <a:xfrm rot="20992678">
              <a:off x="6298770" y="6274887"/>
              <a:ext cx="182221" cy="186641"/>
            </a:xfrm>
            <a:prstGeom prst="ellipse">
              <a:avLst/>
            </a:prstGeom>
            <a:grpFill/>
            <a:ln w="10795" cap="flat" cmpd="sng" algn="ctr">
              <a:noFill/>
              <a:prstDash val="solid"/>
            </a:ln>
            <a:effectLst/>
          </p:spPr>
        </p:sp>
        <p:sp>
          <p:nvSpPr>
            <p:cNvPr id="93" name="Oval 92"/>
            <p:cNvSpPr/>
            <p:nvPr/>
          </p:nvSpPr>
          <p:spPr bwMode="auto">
            <a:xfrm rot="17849378">
              <a:off x="8676689" y="5650054"/>
              <a:ext cx="390653" cy="381399"/>
            </a:xfrm>
            <a:prstGeom prst="ellipse">
              <a:avLst/>
            </a:prstGeom>
            <a:grpFill/>
            <a:ln w="10795" cap="flat" cmpd="sng" algn="ctr">
              <a:noFill/>
              <a:prstDash val="solid"/>
            </a:ln>
            <a:effectLst/>
          </p:spPr>
        </p:sp>
        <p:sp>
          <p:nvSpPr>
            <p:cNvPr id="94" name="Oval 93"/>
            <p:cNvSpPr/>
            <p:nvPr/>
          </p:nvSpPr>
          <p:spPr bwMode="auto">
            <a:xfrm rot="17849378">
              <a:off x="6553309" y="3410603"/>
              <a:ext cx="352170" cy="343827"/>
            </a:xfrm>
            <a:prstGeom prst="ellipse">
              <a:avLst/>
            </a:prstGeom>
            <a:grpFill/>
            <a:ln w="10795" cap="flat" cmpd="sng" algn="ctr">
              <a:noFill/>
              <a:prstDash val="solid"/>
            </a:ln>
            <a:effectLst/>
          </p:spPr>
        </p:sp>
        <p:sp>
          <p:nvSpPr>
            <p:cNvPr id="95" name="Oval 94"/>
            <p:cNvSpPr/>
            <p:nvPr/>
          </p:nvSpPr>
          <p:spPr bwMode="auto">
            <a:xfrm rot="20992678">
              <a:off x="10181124" y="5151163"/>
              <a:ext cx="182221" cy="186641"/>
            </a:xfrm>
            <a:prstGeom prst="ellipse">
              <a:avLst/>
            </a:prstGeom>
            <a:grpFill/>
            <a:ln w="10795" cap="flat" cmpd="sng" algn="ctr">
              <a:noFill/>
              <a:prstDash val="solid"/>
            </a:ln>
            <a:effectLst/>
          </p:spPr>
        </p:sp>
        <p:sp>
          <p:nvSpPr>
            <p:cNvPr id="96" name="Oval 95"/>
            <p:cNvSpPr/>
            <p:nvPr/>
          </p:nvSpPr>
          <p:spPr bwMode="auto">
            <a:xfrm rot="20992678">
              <a:off x="9787246" y="5994836"/>
              <a:ext cx="468566" cy="479935"/>
            </a:xfrm>
            <a:prstGeom prst="ellipse">
              <a:avLst/>
            </a:prstGeom>
            <a:grpFill/>
            <a:ln w="57150" cap="flat" cmpd="sng" algn="ctr">
              <a:noFill/>
              <a:prstDash val="solid"/>
            </a:ln>
            <a:effectLst/>
          </p:spPr>
        </p:sp>
        <p:sp>
          <p:nvSpPr>
            <p:cNvPr id="97" name="Oval 96"/>
            <p:cNvSpPr/>
            <p:nvPr/>
          </p:nvSpPr>
          <p:spPr bwMode="auto">
            <a:xfrm rot="20992678">
              <a:off x="11028838" y="5354985"/>
              <a:ext cx="182221" cy="186641"/>
            </a:xfrm>
            <a:prstGeom prst="ellipse">
              <a:avLst/>
            </a:prstGeom>
            <a:grpFill/>
            <a:ln w="10795" cap="flat" cmpd="sng" algn="ctr">
              <a:noFill/>
              <a:prstDash val="solid"/>
            </a:ln>
            <a:effectLst/>
          </p:spPr>
        </p:sp>
        <p:sp>
          <p:nvSpPr>
            <p:cNvPr id="98" name="Oval 97"/>
            <p:cNvSpPr/>
            <p:nvPr/>
          </p:nvSpPr>
          <p:spPr bwMode="auto">
            <a:xfrm rot="20992678">
              <a:off x="9316780" y="5420262"/>
              <a:ext cx="182221" cy="186641"/>
            </a:xfrm>
            <a:prstGeom prst="ellipse">
              <a:avLst/>
            </a:prstGeom>
            <a:grpFill/>
            <a:ln w="10795" cap="flat" cmpd="sng" algn="ctr">
              <a:noFill/>
              <a:prstDash val="solid"/>
            </a:ln>
            <a:effectLst/>
          </p:spPr>
        </p:sp>
        <p:sp>
          <p:nvSpPr>
            <p:cNvPr id="99" name="Oval 98"/>
            <p:cNvSpPr/>
            <p:nvPr/>
          </p:nvSpPr>
          <p:spPr bwMode="auto">
            <a:xfrm rot="20992678">
              <a:off x="11552645" y="4976137"/>
              <a:ext cx="182221" cy="186641"/>
            </a:xfrm>
            <a:prstGeom prst="ellipse">
              <a:avLst/>
            </a:prstGeom>
            <a:grpFill/>
            <a:ln w="10795" cap="flat" cmpd="sng" algn="ctr">
              <a:noFill/>
              <a:prstDash val="solid"/>
            </a:ln>
            <a:effectLst/>
          </p:spPr>
        </p:sp>
        <p:sp>
          <p:nvSpPr>
            <p:cNvPr id="100" name="Oval 99"/>
            <p:cNvSpPr/>
            <p:nvPr/>
          </p:nvSpPr>
          <p:spPr bwMode="auto">
            <a:xfrm rot="20992678">
              <a:off x="9801485" y="5562609"/>
              <a:ext cx="239372" cy="245179"/>
            </a:xfrm>
            <a:prstGeom prst="ellipse">
              <a:avLst/>
            </a:prstGeom>
            <a:grpFill/>
            <a:ln w="57150" cap="flat" cmpd="sng" algn="ctr">
              <a:noFill/>
              <a:prstDash val="solid"/>
            </a:ln>
            <a:effectLst/>
          </p:spPr>
        </p:sp>
        <p:sp>
          <p:nvSpPr>
            <p:cNvPr id="101" name="Oval 100"/>
            <p:cNvSpPr/>
            <p:nvPr/>
          </p:nvSpPr>
          <p:spPr bwMode="auto">
            <a:xfrm rot="17849378">
              <a:off x="9450918" y="4976536"/>
              <a:ext cx="293294" cy="286345"/>
            </a:xfrm>
            <a:prstGeom prst="ellipse">
              <a:avLst/>
            </a:prstGeom>
            <a:grpFill/>
            <a:ln w="10795" cap="flat" cmpd="sng" algn="ctr">
              <a:noFill/>
              <a:prstDash val="solid"/>
            </a:ln>
            <a:effectLst/>
          </p:spPr>
        </p:sp>
        <p:sp>
          <p:nvSpPr>
            <p:cNvPr id="102" name="Oval 101"/>
            <p:cNvSpPr/>
            <p:nvPr/>
          </p:nvSpPr>
          <p:spPr bwMode="auto">
            <a:xfrm rot="20992678">
              <a:off x="11492736" y="6035745"/>
              <a:ext cx="286345" cy="293294"/>
            </a:xfrm>
            <a:prstGeom prst="ellipse">
              <a:avLst/>
            </a:prstGeom>
            <a:grpFill/>
            <a:ln w="10795" cap="flat" cmpd="sng" algn="ctr">
              <a:noFill/>
              <a:prstDash val="solid"/>
            </a:ln>
            <a:effectLst/>
          </p:spPr>
        </p:sp>
        <p:sp>
          <p:nvSpPr>
            <p:cNvPr id="103" name="Oval 102"/>
            <p:cNvSpPr/>
            <p:nvPr/>
          </p:nvSpPr>
          <p:spPr bwMode="auto">
            <a:xfrm rot="20992678">
              <a:off x="10525636" y="6165461"/>
              <a:ext cx="286345" cy="293294"/>
            </a:xfrm>
            <a:prstGeom prst="ellipse">
              <a:avLst/>
            </a:prstGeom>
            <a:grpFill/>
            <a:ln w="10795" cap="flat" cmpd="sng" algn="ctr">
              <a:noFill/>
              <a:prstDash val="solid"/>
            </a:ln>
            <a:effectLst/>
          </p:spPr>
        </p:sp>
        <p:sp>
          <p:nvSpPr>
            <p:cNvPr id="104" name="Oval 103"/>
            <p:cNvSpPr/>
            <p:nvPr/>
          </p:nvSpPr>
          <p:spPr bwMode="auto">
            <a:xfrm rot="20992678">
              <a:off x="10786474" y="4776743"/>
              <a:ext cx="340678" cy="348942"/>
            </a:xfrm>
            <a:prstGeom prst="ellipse">
              <a:avLst/>
            </a:prstGeom>
            <a:grpFill/>
            <a:ln w="10795" cap="flat" cmpd="sng" algn="ctr">
              <a:noFill/>
              <a:prstDash val="solid"/>
            </a:ln>
            <a:effectLst/>
          </p:spPr>
        </p:sp>
        <p:sp>
          <p:nvSpPr>
            <p:cNvPr id="105" name="Oval 104"/>
            <p:cNvSpPr/>
            <p:nvPr/>
          </p:nvSpPr>
          <p:spPr bwMode="auto">
            <a:xfrm rot="20992678">
              <a:off x="11237614" y="6340339"/>
              <a:ext cx="182221" cy="186641"/>
            </a:xfrm>
            <a:prstGeom prst="ellipse">
              <a:avLst/>
            </a:prstGeom>
            <a:grpFill/>
            <a:ln w="10795" cap="flat" cmpd="sng" algn="ctr">
              <a:noFill/>
              <a:prstDash val="solid"/>
            </a:ln>
            <a:effectLst/>
          </p:spPr>
        </p:sp>
        <p:sp>
          <p:nvSpPr>
            <p:cNvPr id="106" name="Oval 105"/>
            <p:cNvSpPr/>
            <p:nvPr/>
          </p:nvSpPr>
          <p:spPr bwMode="auto">
            <a:xfrm rot="20992678">
              <a:off x="11424038" y="5414583"/>
              <a:ext cx="286345" cy="293294"/>
            </a:xfrm>
            <a:prstGeom prst="ellipse">
              <a:avLst/>
            </a:prstGeom>
            <a:grpFill/>
            <a:ln w="10795" cap="flat" cmpd="sng" algn="ctr">
              <a:noFill/>
              <a:prstDash val="solid"/>
            </a:ln>
            <a:effectLst/>
          </p:spPr>
        </p:sp>
      </p:grpSp>
    </p:spTree>
    <p:extLst>
      <p:ext uri="{BB962C8B-B14F-4D97-AF65-F5344CB8AC3E}">
        <p14:creationId xmlns:p14="http://schemas.microsoft.com/office/powerpoint/2010/main" val="536167537"/>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a:xfrm>
            <a:off x="269241" y="289956"/>
            <a:ext cx="10089447" cy="1629703"/>
          </a:xfrm>
        </p:spPr>
        <p:txBody>
          <a:bodyPr/>
          <a:lstStyle/>
          <a:p>
            <a:r>
              <a:rPr lang="en-US" dirty="0"/>
              <a:t>Identify and remediate vulnerabilities quickly</a:t>
            </a:r>
          </a:p>
        </p:txBody>
      </p:sp>
      <p:grpSp>
        <p:nvGrpSpPr>
          <p:cNvPr id="37" name="Group 36"/>
          <p:cNvGrpSpPr/>
          <p:nvPr/>
        </p:nvGrpSpPr>
        <p:grpSpPr>
          <a:xfrm>
            <a:off x="11141276" y="377197"/>
            <a:ext cx="685589" cy="678528"/>
            <a:chOff x="7145338" y="-1084263"/>
            <a:chExt cx="1541462" cy="1525588"/>
          </a:xfrm>
          <a:solidFill>
            <a:schemeClr val="accent1">
              <a:lumMod val="75000"/>
            </a:schemeClr>
          </a:solidFill>
        </p:grpSpPr>
        <p:sp>
          <p:nvSpPr>
            <p:cNvPr id="38" name="Freeform 31"/>
            <p:cNvSpPr>
              <a:spLocks/>
            </p:cNvSpPr>
            <p:nvPr/>
          </p:nvSpPr>
          <p:spPr bwMode="auto">
            <a:xfrm>
              <a:off x="7145338" y="-1084263"/>
              <a:ext cx="1541462" cy="1525588"/>
            </a:xfrm>
            <a:custGeom>
              <a:avLst/>
              <a:gdLst>
                <a:gd name="T0" fmla="*/ 239 w 473"/>
                <a:gd name="T1" fmla="*/ 0 h 468"/>
                <a:gd name="T2" fmla="*/ 24 w 473"/>
                <a:gd name="T3" fmla="*/ 142 h 468"/>
                <a:gd name="T4" fmla="*/ 24 w 473"/>
                <a:gd name="T5" fmla="*/ 88 h 468"/>
                <a:gd name="T6" fmla="*/ 0 w 473"/>
                <a:gd name="T7" fmla="*/ 88 h 468"/>
                <a:gd name="T8" fmla="*/ 0 w 473"/>
                <a:gd name="T9" fmla="*/ 175 h 468"/>
                <a:gd name="T10" fmla="*/ 87 w 473"/>
                <a:gd name="T11" fmla="*/ 175 h 468"/>
                <a:gd name="T12" fmla="*/ 87 w 473"/>
                <a:gd name="T13" fmla="*/ 151 h 468"/>
                <a:gd name="T14" fmla="*/ 47 w 473"/>
                <a:gd name="T15" fmla="*/ 151 h 468"/>
                <a:gd name="T16" fmla="*/ 239 w 473"/>
                <a:gd name="T17" fmla="*/ 24 h 468"/>
                <a:gd name="T18" fmla="*/ 449 w 473"/>
                <a:gd name="T19" fmla="*/ 234 h 468"/>
                <a:gd name="T20" fmla="*/ 239 w 473"/>
                <a:gd name="T21" fmla="*/ 444 h 468"/>
                <a:gd name="T22" fmla="*/ 29 w 473"/>
                <a:gd name="T23" fmla="*/ 234 h 468"/>
                <a:gd name="T24" fmla="*/ 5 w 473"/>
                <a:gd name="T25" fmla="*/ 234 h 468"/>
                <a:gd name="T26" fmla="*/ 239 w 473"/>
                <a:gd name="T27" fmla="*/ 468 h 468"/>
                <a:gd name="T28" fmla="*/ 473 w 473"/>
                <a:gd name="T29" fmla="*/ 234 h 468"/>
                <a:gd name="T30" fmla="*/ 239 w 473"/>
                <a:gd name="T31"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3" h="468">
                  <a:moveTo>
                    <a:pt x="239" y="0"/>
                  </a:moveTo>
                  <a:cubicBezTo>
                    <a:pt x="145" y="0"/>
                    <a:pt x="61" y="56"/>
                    <a:pt x="24" y="142"/>
                  </a:cubicBezTo>
                  <a:cubicBezTo>
                    <a:pt x="24" y="88"/>
                    <a:pt x="24" y="88"/>
                    <a:pt x="24" y="88"/>
                  </a:cubicBezTo>
                  <a:cubicBezTo>
                    <a:pt x="0" y="88"/>
                    <a:pt x="0" y="88"/>
                    <a:pt x="0" y="88"/>
                  </a:cubicBezTo>
                  <a:cubicBezTo>
                    <a:pt x="0" y="175"/>
                    <a:pt x="0" y="175"/>
                    <a:pt x="0" y="175"/>
                  </a:cubicBezTo>
                  <a:cubicBezTo>
                    <a:pt x="87" y="175"/>
                    <a:pt x="87" y="175"/>
                    <a:pt x="87" y="175"/>
                  </a:cubicBezTo>
                  <a:cubicBezTo>
                    <a:pt x="87" y="151"/>
                    <a:pt x="87" y="151"/>
                    <a:pt x="87" y="151"/>
                  </a:cubicBezTo>
                  <a:cubicBezTo>
                    <a:pt x="47" y="151"/>
                    <a:pt x="47" y="151"/>
                    <a:pt x="47" y="151"/>
                  </a:cubicBezTo>
                  <a:cubicBezTo>
                    <a:pt x="79" y="74"/>
                    <a:pt x="155" y="24"/>
                    <a:pt x="239" y="24"/>
                  </a:cubicBezTo>
                  <a:cubicBezTo>
                    <a:pt x="355" y="24"/>
                    <a:pt x="449" y="118"/>
                    <a:pt x="449" y="234"/>
                  </a:cubicBezTo>
                  <a:cubicBezTo>
                    <a:pt x="449" y="350"/>
                    <a:pt x="355" y="444"/>
                    <a:pt x="239" y="444"/>
                  </a:cubicBezTo>
                  <a:cubicBezTo>
                    <a:pt x="124" y="444"/>
                    <a:pt x="29" y="350"/>
                    <a:pt x="29" y="234"/>
                  </a:cubicBezTo>
                  <a:cubicBezTo>
                    <a:pt x="5" y="234"/>
                    <a:pt x="5" y="234"/>
                    <a:pt x="5" y="234"/>
                  </a:cubicBezTo>
                  <a:cubicBezTo>
                    <a:pt x="5" y="363"/>
                    <a:pt x="110" y="468"/>
                    <a:pt x="239" y="468"/>
                  </a:cubicBezTo>
                  <a:cubicBezTo>
                    <a:pt x="369" y="468"/>
                    <a:pt x="473" y="363"/>
                    <a:pt x="473" y="234"/>
                  </a:cubicBezTo>
                  <a:cubicBezTo>
                    <a:pt x="473" y="105"/>
                    <a:pt x="369" y="0"/>
                    <a:pt x="2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9" name="Freeform 32"/>
            <p:cNvSpPr>
              <a:spLocks noEditPoints="1"/>
            </p:cNvSpPr>
            <p:nvPr/>
          </p:nvSpPr>
          <p:spPr bwMode="auto">
            <a:xfrm>
              <a:off x="7562850" y="-709613"/>
              <a:ext cx="709612" cy="825500"/>
            </a:xfrm>
            <a:custGeom>
              <a:avLst/>
              <a:gdLst>
                <a:gd name="T0" fmla="*/ 218 w 218"/>
                <a:gd name="T1" fmla="*/ 126 h 253"/>
                <a:gd name="T2" fmla="*/ 218 w 218"/>
                <a:gd name="T3" fmla="*/ 34 h 253"/>
                <a:gd name="T4" fmla="*/ 212 w 218"/>
                <a:gd name="T5" fmla="*/ 31 h 253"/>
                <a:gd name="T6" fmla="*/ 109 w 218"/>
                <a:gd name="T7" fmla="*/ 0 h 253"/>
                <a:gd name="T8" fmla="*/ 109 w 218"/>
                <a:gd name="T9" fmla="*/ 0 h 253"/>
                <a:gd name="T10" fmla="*/ 109 w 218"/>
                <a:gd name="T11" fmla="*/ 0 h 253"/>
                <a:gd name="T12" fmla="*/ 6 w 218"/>
                <a:gd name="T13" fmla="*/ 31 h 253"/>
                <a:gd name="T14" fmla="*/ 0 w 218"/>
                <a:gd name="T15" fmla="*/ 34 h 253"/>
                <a:gd name="T16" fmla="*/ 0 w 218"/>
                <a:gd name="T17" fmla="*/ 126 h 253"/>
                <a:gd name="T18" fmla="*/ 109 w 218"/>
                <a:gd name="T19" fmla="*/ 253 h 253"/>
                <a:gd name="T20" fmla="*/ 218 w 218"/>
                <a:gd name="T21" fmla="*/ 126 h 253"/>
                <a:gd name="T22" fmla="*/ 109 w 218"/>
                <a:gd name="T23" fmla="*/ 24 h 253"/>
                <a:gd name="T24" fmla="*/ 194 w 218"/>
                <a:gd name="T25" fmla="*/ 49 h 253"/>
                <a:gd name="T26" fmla="*/ 194 w 218"/>
                <a:gd name="T27" fmla="*/ 62 h 253"/>
                <a:gd name="T28" fmla="*/ 24 w 218"/>
                <a:gd name="T29" fmla="*/ 62 h 253"/>
                <a:gd name="T30" fmla="*/ 24 w 218"/>
                <a:gd name="T31" fmla="*/ 49 h 253"/>
                <a:gd name="T32" fmla="*/ 109 w 218"/>
                <a:gd name="T33" fmla="*/ 24 h 253"/>
                <a:gd name="T34" fmla="*/ 24 w 218"/>
                <a:gd name="T35" fmla="*/ 126 h 253"/>
                <a:gd name="T36" fmla="*/ 24 w 218"/>
                <a:gd name="T37" fmla="*/ 86 h 253"/>
                <a:gd name="T38" fmla="*/ 194 w 218"/>
                <a:gd name="T39" fmla="*/ 86 h 253"/>
                <a:gd name="T40" fmla="*/ 194 w 218"/>
                <a:gd name="T41" fmla="*/ 126 h 253"/>
                <a:gd name="T42" fmla="*/ 109 w 218"/>
                <a:gd name="T43" fmla="*/ 229 h 253"/>
                <a:gd name="T44" fmla="*/ 24 w 218"/>
                <a:gd name="T45"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8" h="253">
                  <a:moveTo>
                    <a:pt x="218" y="126"/>
                  </a:moveTo>
                  <a:cubicBezTo>
                    <a:pt x="218" y="34"/>
                    <a:pt x="218" y="34"/>
                    <a:pt x="218" y="34"/>
                  </a:cubicBezTo>
                  <a:cubicBezTo>
                    <a:pt x="212" y="31"/>
                    <a:pt x="212" y="31"/>
                    <a:pt x="212" y="31"/>
                  </a:cubicBezTo>
                  <a:cubicBezTo>
                    <a:pt x="210" y="30"/>
                    <a:pt x="160" y="1"/>
                    <a:pt x="109" y="0"/>
                  </a:cubicBezTo>
                  <a:cubicBezTo>
                    <a:pt x="109" y="0"/>
                    <a:pt x="109" y="0"/>
                    <a:pt x="109" y="0"/>
                  </a:cubicBezTo>
                  <a:cubicBezTo>
                    <a:pt x="109" y="0"/>
                    <a:pt x="109" y="0"/>
                    <a:pt x="109" y="0"/>
                  </a:cubicBezTo>
                  <a:cubicBezTo>
                    <a:pt x="58" y="1"/>
                    <a:pt x="8" y="30"/>
                    <a:pt x="6" y="31"/>
                  </a:cubicBezTo>
                  <a:cubicBezTo>
                    <a:pt x="0" y="34"/>
                    <a:pt x="0" y="34"/>
                    <a:pt x="0" y="34"/>
                  </a:cubicBezTo>
                  <a:cubicBezTo>
                    <a:pt x="0" y="126"/>
                    <a:pt x="0" y="126"/>
                    <a:pt x="0" y="126"/>
                  </a:cubicBezTo>
                  <a:cubicBezTo>
                    <a:pt x="0" y="185"/>
                    <a:pt x="77" y="253"/>
                    <a:pt x="109" y="253"/>
                  </a:cubicBezTo>
                  <a:cubicBezTo>
                    <a:pt x="140" y="253"/>
                    <a:pt x="218" y="185"/>
                    <a:pt x="218" y="126"/>
                  </a:cubicBezTo>
                  <a:close/>
                  <a:moveTo>
                    <a:pt x="109" y="24"/>
                  </a:moveTo>
                  <a:cubicBezTo>
                    <a:pt x="144" y="25"/>
                    <a:pt x="180" y="42"/>
                    <a:pt x="194" y="49"/>
                  </a:cubicBezTo>
                  <a:cubicBezTo>
                    <a:pt x="194" y="62"/>
                    <a:pt x="194" y="62"/>
                    <a:pt x="194" y="62"/>
                  </a:cubicBezTo>
                  <a:cubicBezTo>
                    <a:pt x="24" y="62"/>
                    <a:pt x="24" y="62"/>
                    <a:pt x="24" y="62"/>
                  </a:cubicBezTo>
                  <a:cubicBezTo>
                    <a:pt x="24" y="49"/>
                    <a:pt x="24" y="49"/>
                    <a:pt x="24" y="49"/>
                  </a:cubicBezTo>
                  <a:cubicBezTo>
                    <a:pt x="38" y="42"/>
                    <a:pt x="74" y="25"/>
                    <a:pt x="109" y="24"/>
                  </a:cubicBezTo>
                  <a:close/>
                  <a:moveTo>
                    <a:pt x="24" y="126"/>
                  </a:moveTo>
                  <a:cubicBezTo>
                    <a:pt x="24" y="86"/>
                    <a:pt x="24" y="86"/>
                    <a:pt x="24" y="86"/>
                  </a:cubicBezTo>
                  <a:cubicBezTo>
                    <a:pt x="194" y="86"/>
                    <a:pt x="194" y="86"/>
                    <a:pt x="194" y="86"/>
                  </a:cubicBezTo>
                  <a:cubicBezTo>
                    <a:pt x="194" y="126"/>
                    <a:pt x="194" y="126"/>
                    <a:pt x="194" y="126"/>
                  </a:cubicBezTo>
                  <a:cubicBezTo>
                    <a:pt x="194" y="173"/>
                    <a:pt x="125" y="229"/>
                    <a:pt x="109" y="229"/>
                  </a:cubicBezTo>
                  <a:cubicBezTo>
                    <a:pt x="92" y="229"/>
                    <a:pt x="24" y="173"/>
                    <a:pt x="24"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sp>
        <p:nvSpPr>
          <p:cNvPr id="12" name="Text Placeholder 12"/>
          <p:cNvSpPr txBox="1">
            <a:spLocks/>
          </p:cNvSpPr>
          <p:nvPr/>
        </p:nvSpPr>
        <p:spPr>
          <a:xfrm>
            <a:off x="269240" y="2626515"/>
            <a:ext cx="3917591" cy="2757779"/>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874">
              <a:spcBef>
                <a:spcPts val="0"/>
              </a:spcBef>
              <a:spcAft>
                <a:spcPts val="980"/>
              </a:spcAft>
              <a:buNone/>
              <a:defRPr/>
            </a:pPr>
            <a:r>
              <a:rPr lang="en-US" sz="1765" b="1" kern="0" dirty="0">
                <a:solidFill>
                  <a:schemeClr val="bg1"/>
                </a:solidFill>
                <a:latin typeface="Segoe UI" panose="020B0502040204020203" pitchFamily="34" charset="0"/>
                <a:ea typeface="Calibri" panose="020F0502020204030204" pitchFamily="34" charset="0"/>
                <a:cs typeface="Segoe UI" panose="020B0502040204020203" pitchFamily="34" charset="0"/>
              </a:rPr>
              <a:t>Continuous assessment of machines, networks, and </a:t>
            </a:r>
            <a:br>
              <a:rPr lang="en-US" sz="1765" b="1" kern="0" dirty="0">
                <a:solidFill>
                  <a:schemeClr val="bg1"/>
                </a:solidFill>
                <a:latin typeface="Segoe UI" panose="020B0502040204020203" pitchFamily="34" charset="0"/>
                <a:ea typeface="Calibri" panose="020F0502020204030204" pitchFamily="34" charset="0"/>
                <a:cs typeface="Segoe UI" panose="020B0502040204020203" pitchFamily="34" charset="0"/>
              </a:rPr>
            </a:br>
            <a:r>
              <a:rPr lang="en-US" sz="1765" b="1" kern="0" dirty="0">
                <a:solidFill>
                  <a:schemeClr val="bg1"/>
                </a:solidFill>
                <a:latin typeface="Segoe UI" panose="020B0502040204020203" pitchFamily="34" charset="0"/>
                <a:ea typeface="Calibri" panose="020F0502020204030204" pitchFamily="34" charset="0"/>
                <a:cs typeface="Segoe UI" panose="020B0502040204020203" pitchFamily="34" charset="0"/>
              </a:rPr>
              <a:t>Azure services</a:t>
            </a:r>
          </a:p>
          <a:p>
            <a:pPr marL="448193" indent="0">
              <a:spcBef>
                <a:spcPts val="0"/>
              </a:spcBef>
              <a:spcAft>
                <a:spcPts val="980"/>
              </a:spcAft>
              <a:buNone/>
            </a:pPr>
            <a:r>
              <a:rPr lang="en-US" sz="1765" dirty="0">
                <a:solidFill>
                  <a:schemeClr val="bg1"/>
                </a:solidFill>
                <a:latin typeface="+mn-lt"/>
                <a:ea typeface="Calibri" panose="020F0502020204030204" pitchFamily="34" charset="0"/>
                <a:cs typeface="Segoe UI" panose="020B0502040204020203" pitchFamily="34" charset="0"/>
              </a:rPr>
              <a:t>Hundreds of built-in security assessments, or create your own</a:t>
            </a:r>
            <a:br>
              <a:rPr lang="en-US" sz="1765" dirty="0">
                <a:solidFill>
                  <a:schemeClr val="bg1"/>
                </a:solidFill>
                <a:latin typeface="+mn-lt"/>
                <a:ea typeface="Calibri" panose="020F0502020204030204" pitchFamily="34" charset="0"/>
                <a:cs typeface="Segoe UI" panose="020B0502040204020203" pitchFamily="34" charset="0"/>
              </a:rPr>
            </a:br>
            <a:endParaRPr lang="en-US" sz="1765" dirty="0">
              <a:solidFill>
                <a:schemeClr val="bg1"/>
              </a:solidFill>
              <a:latin typeface="+mn-lt"/>
              <a:ea typeface="Calibri" panose="020F0502020204030204" pitchFamily="34" charset="0"/>
              <a:cs typeface="Segoe UI" panose="020B0502040204020203" pitchFamily="34" charset="0"/>
            </a:endParaRPr>
          </a:p>
          <a:p>
            <a:pPr marL="0" indent="-448193">
              <a:spcBef>
                <a:spcPts val="0"/>
              </a:spcBef>
              <a:spcAft>
                <a:spcPts val="980"/>
              </a:spcAft>
              <a:buNone/>
            </a:pPr>
            <a:r>
              <a:rPr lang="en-US" sz="1765" b="1" kern="0" dirty="0">
                <a:solidFill>
                  <a:schemeClr val="bg1"/>
                </a:solidFill>
                <a:latin typeface="Segoe UI" panose="020B0502040204020203" pitchFamily="34" charset="0"/>
                <a:cs typeface="Segoe UI" panose="020B0502040204020203" pitchFamily="34" charset="0"/>
              </a:rPr>
              <a:t>Fix vulnerabilities quickly</a:t>
            </a:r>
          </a:p>
          <a:p>
            <a:pPr marL="448193" indent="0">
              <a:spcBef>
                <a:spcPts val="0"/>
              </a:spcBef>
              <a:spcAft>
                <a:spcPts val="980"/>
              </a:spcAft>
              <a:buNone/>
            </a:pPr>
            <a:r>
              <a:rPr lang="en-US" sz="1765" dirty="0">
                <a:solidFill>
                  <a:schemeClr val="bg1"/>
                </a:solidFill>
                <a:latin typeface="+mn-lt"/>
                <a:ea typeface="Calibri" panose="020F0502020204030204" pitchFamily="34" charset="0"/>
                <a:cs typeface="Segoe UI" panose="020B0502040204020203" pitchFamily="34" charset="0"/>
              </a:rPr>
              <a:t>Prioritized, actionable security recommendations </a:t>
            </a:r>
          </a:p>
        </p:txBody>
      </p:sp>
      <p:sp>
        <p:nvSpPr>
          <p:cNvPr id="14" name="L-Shape 13"/>
          <p:cNvSpPr/>
          <p:nvPr/>
        </p:nvSpPr>
        <p:spPr bwMode="auto">
          <a:xfrm rot="13500000">
            <a:off x="566136" y="3621627"/>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5" name="L-Shape 14"/>
          <p:cNvSpPr/>
          <p:nvPr/>
        </p:nvSpPr>
        <p:spPr bwMode="auto">
          <a:xfrm rot="13500000">
            <a:off x="566136" y="4851288"/>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a:extLst>
              <a:ext uri="{FF2B5EF4-FFF2-40B4-BE49-F238E27FC236}">
                <a16:creationId xmlns:a16="http://schemas.microsoft.com/office/drawing/2014/main" id="{CDE0A8E3-699C-4294-8006-84440520479F}"/>
              </a:ext>
            </a:extLst>
          </p:cNvPr>
          <p:cNvPicPr>
            <a:picLocks noChangeAspect="1"/>
          </p:cNvPicPr>
          <p:nvPr/>
        </p:nvPicPr>
        <p:blipFill rotWithShape="1">
          <a:blip r:embed="rId3"/>
          <a:srcRect l="210" b="9339"/>
          <a:stretch/>
        </p:blipFill>
        <p:spPr>
          <a:xfrm>
            <a:off x="4519476" y="2123656"/>
            <a:ext cx="7183849" cy="4054761"/>
          </a:xfrm>
          <a:prstGeom prst="rect">
            <a:avLst/>
          </a:prstGeom>
        </p:spPr>
      </p:pic>
      <p:sp>
        <p:nvSpPr>
          <p:cNvPr id="3" name="Rectangle 2">
            <a:extLst>
              <a:ext uri="{FF2B5EF4-FFF2-40B4-BE49-F238E27FC236}">
                <a16:creationId xmlns:a16="http://schemas.microsoft.com/office/drawing/2014/main" id="{72600086-B3A1-47D2-9322-1161F3A12597}"/>
              </a:ext>
            </a:extLst>
          </p:cNvPr>
          <p:cNvSpPr/>
          <p:nvPr/>
        </p:nvSpPr>
        <p:spPr bwMode="auto">
          <a:xfrm>
            <a:off x="4519476" y="2611812"/>
            <a:ext cx="7183849" cy="1948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703331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a:xfrm>
            <a:off x="269241" y="289957"/>
            <a:ext cx="6902158" cy="899537"/>
          </a:xfrm>
        </p:spPr>
        <p:txBody>
          <a:bodyPr>
            <a:normAutofit fontScale="90000"/>
          </a:bodyPr>
          <a:lstStyle/>
          <a:p>
            <a:r>
              <a:rPr lang="en-US" dirty="0"/>
              <a:t>Limit exposure to brute- force attacks</a:t>
            </a:r>
          </a:p>
        </p:txBody>
      </p:sp>
      <p:grpSp>
        <p:nvGrpSpPr>
          <p:cNvPr id="33" name="Group 32"/>
          <p:cNvGrpSpPr/>
          <p:nvPr/>
        </p:nvGrpSpPr>
        <p:grpSpPr>
          <a:xfrm>
            <a:off x="11141276" y="377197"/>
            <a:ext cx="685589" cy="678528"/>
            <a:chOff x="7145338" y="-1084263"/>
            <a:chExt cx="1541462" cy="1525588"/>
          </a:xfrm>
          <a:solidFill>
            <a:schemeClr val="accent1">
              <a:lumMod val="75000"/>
            </a:schemeClr>
          </a:solidFill>
        </p:grpSpPr>
        <p:sp>
          <p:nvSpPr>
            <p:cNvPr id="34" name="Freeform 31"/>
            <p:cNvSpPr>
              <a:spLocks/>
            </p:cNvSpPr>
            <p:nvPr/>
          </p:nvSpPr>
          <p:spPr bwMode="auto">
            <a:xfrm>
              <a:off x="7145338" y="-1084263"/>
              <a:ext cx="1541462" cy="1525588"/>
            </a:xfrm>
            <a:custGeom>
              <a:avLst/>
              <a:gdLst>
                <a:gd name="T0" fmla="*/ 239 w 473"/>
                <a:gd name="T1" fmla="*/ 0 h 468"/>
                <a:gd name="T2" fmla="*/ 24 w 473"/>
                <a:gd name="T3" fmla="*/ 142 h 468"/>
                <a:gd name="T4" fmla="*/ 24 w 473"/>
                <a:gd name="T5" fmla="*/ 88 h 468"/>
                <a:gd name="T6" fmla="*/ 0 w 473"/>
                <a:gd name="T7" fmla="*/ 88 h 468"/>
                <a:gd name="T8" fmla="*/ 0 w 473"/>
                <a:gd name="T9" fmla="*/ 175 h 468"/>
                <a:gd name="T10" fmla="*/ 87 w 473"/>
                <a:gd name="T11" fmla="*/ 175 h 468"/>
                <a:gd name="T12" fmla="*/ 87 w 473"/>
                <a:gd name="T13" fmla="*/ 151 h 468"/>
                <a:gd name="T14" fmla="*/ 47 w 473"/>
                <a:gd name="T15" fmla="*/ 151 h 468"/>
                <a:gd name="T16" fmla="*/ 239 w 473"/>
                <a:gd name="T17" fmla="*/ 24 h 468"/>
                <a:gd name="T18" fmla="*/ 449 w 473"/>
                <a:gd name="T19" fmla="*/ 234 h 468"/>
                <a:gd name="T20" fmla="*/ 239 w 473"/>
                <a:gd name="T21" fmla="*/ 444 h 468"/>
                <a:gd name="T22" fmla="*/ 29 w 473"/>
                <a:gd name="T23" fmla="*/ 234 h 468"/>
                <a:gd name="T24" fmla="*/ 5 w 473"/>
                <a:gd name="T25" fmla="*/ 234 h 468"/>
                <a:gd name="T26" fmla="*/ 239 w 473"/>
                <a:gd name="T27" fmla="*/ 468 h 468"/>
                <a:gd name="T28" fmla="*/ 473 w 473"/>
                <a:gd name="T29" fmla="*/ 234 h 468"/>
                <a:gd name="T30" fmla="*/ 239 w 473"/>
                <a:gd name="T31"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3" h="468">
                  <a:moveTo>
                    <a:pt x="239" y="0"/>
                  </a:moveTo>
                  <a:cubicBezTo>
                    <a:pt x="145" y="0"/>
                    <a:pt x="61" y="56"/>
                    <a:pt x="24" y="142"/>
                  </a:cubicBezTo>
                  <a:cubicBezTo>
                    <a:pt x="24" y="88"/>
                    <a:pt x="24" y="88"/>
                    <a:pt x="24" y="88"/>
                  </a:cubicBezTo>
                  <a:cubicBezTo>
                    <a:pt x="0" y="88"/>
                    <a:pt x="0" y="88"/>
                    <a:pt x="0" y="88"/>
                  </a:cubicBezTo>
                  <a:cubicBezTo>
                    <a:pt x="0" y="175"/>
                    <a:pt x="0" y="175"/>
                    <a:pt x="0" y="175"/>
                  </a:cubicBezTo>
                  <a:cubicBezTo>
                    <a:pt x="87" y="175"/>
                    <a:pt x="87" y="175"/>
                    <a:pt x="87" y="175"/>
                  </a:cubicBezTo>
                  <a:cubicBezTo>
                    <a:pt x="87" y="151"/>
                    <a:pt x="87" y="151"/>
                    <a:pt x="87" y="151"/>
                  </a:cubicBezTo>
                  <a:cubicBezTo>
                    <a:pt x="47" y="151"/>
                    <a:pt x="47" y="151"/>
                    <a:pt x="47" y="151"/>
                  </a:cubicBezTo>
                  <a:cubicBezTo>
                    <a:pt x="79" y="74"/>
                    <a:pt x="155" y="24"/>
                    <a:pt x="239" y="24"/>
                  </a:cubicBezTo>
                  <a:cubicBezTo>
                    <a:pt x="355" y="24"/>
                    <a:pt x="449" y="118"/>
                    <a:pt x="449" y="234"/>
                  </a:cubicBezTo>
                  <a:cubicBezTo>
                    <a:pt x="449" y="350"/>
                    <a:pt x="355" y="444"/>
                    <a:pt x="239" y="444"/>
                  </a:cubicBezTo>
                  <a:cubicBezTo>
                    <a:pt x="124" y="444"/>
                    <a:pt x="29" y="350"/>
                    <a:pt x="29" y="234"/>
                  </a:cubicBezTo>
                  <a:cubicBezTo>
                    <a:pt x="5" y="234"/>
                    <a:pt x="5" y="234"/>
                    <a:pt x="5" y="234"/>
                  </a:cubicBezTo>
                  <a:cubicBezTo>
                    <a:pt x="5" y="363"/>
                    <a:pt x="110" y="468"/>
                    <a:pt x="239" y="468"/>
                  </a:cubicBezTo>
                  <a:cubicBezTo>
                    <a:pt x="369" y="468"/>
                    <a:pt x="473" y="363"/>
                    <a:pt x="473" y="234"/>
                  </a:cubicBezTo>
                  <a:cubicBezTo>
                    <a:pt x="473" y="105"/>
                    <a:pt x="369" y="0"/>
                    <a:pt x="2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5" name="Freeform 32"/>
            <p:cNvSpPr>
              <a:spLocks noEditPoints="1"/>
            </p:cNvSpPr>
            <p:nvPr/>
          </p:nvSpPr>
          <p:spPr bwMode="auto">
            <a:xfrm>
              <a:off x="7562850" y="-709613"/>
              <a:ext cx="709612" cy="825500"/>
            </a:xfrm>
            <a:custGeom>
              <a:avLst/>
              <a:gdLst>
                <a:gd name="T0" fmla="*/ 218 w 218"/>
                <a:gd name="T1" fmla="*/ 126 h 253"/>
                <a:gd name="T2" fmla="*/ 218 w 218"/>
                <a:gd name="T3" fmla="*/ 34 h 253"/>
                <a:gd name="T4" fmla="*/ 212 w 218"/>
                <a:gd name="T5" fmla="*/ 31 h 253"/>
                <a:gd name="T6" fmla="*/ 109 w 218"/>
                <a:gd name="T7" fmla="*/ 0 h 253"/>
                <a:gd name="T8" fmla="*/ 109 w 218"/>
                <a:gd name="T9" fmla="*/ 0 h 253"/>
                <a:gd name="T10" fmla="*/ 109 w 218"/>
                <a:gd name="T11" fmla="*/ 0 h 253"/>
                <a:gd name="T12" fmla="*/ 6 w 218"/>
                <a:gd name="T13" fmla="*/ 31 h 253"/>
                <a:gd name="T14" fmla="*/ 0 w 218"/>
                <a:gd name="T15" fmla="*/ 34 h 253"/>
                <a:gd name="T16" fmla="*/ 0 w 218"/>
                <a:gd name="T17" fmla="*/ 126 h 253"/>
                <a:gd name="T18" fmla="*/ 109 w 218"/>
                <a:gd name="T19" fmla="*/ 253 h 253"/>
                <a:gd name="T20" fmla="*/ 218 w 218"/>
                <a:gd name="T21" fmla="*/ 126 h 253"/>
                <a:gd name="T22" fmla="*/ 109 w 218"/>
                <a:gd name="T23" fmla="*/ 24 h 253"/>
                <a:gd name="T24" fmla="*/ 194 w 218"/>
                <a:gd name="T25" fmla="*/ 49 h 253"/>
                <a:gd name="T26" fmla="*/ 194 w 218"/>
                <a:gd name="T27" fmla="*/ 62 h 253"/>
                <a:gd name="T28" fmla="*/ 24 w 218"/>
                <a:gd name="T29" fmla="*/ 62 h 253"/>
                <a:gd name="T30" fmla="*/ 24 w 218"/>
                <a:gd name="T31" fmla="*/ 49 h 253"/>
                <a:gd name="T32" fmla="*/ 109 w 218"/>
                <a:gd name="T33" fmla="*/ 24 h 253"/>
                <a:gd name="T34" fmla="*/ 24 w 218"/>
                <a:gd name="T35" fmla="*/ 126 h 253"/>
                <a:gd name="T36" fmla="*/ 24 w 218"/>
                <a:gd name="T37" fmla="*/ 86 h 253"/>
                <a:gd name="T38" fmla="*/ 194 w 218"/>
                <a:gd name="T39" fmla="*/ 86 h 253"/>
                <a:gd name="T40" fmla="*/ 194 w 218"/>
                <a:gd name="T41" fmla="*/ 126 h 253"/>
                <a:gd name="T42" fmla="*/ 109 w 218"/>
                <a:gd name="T43" fmla="*/ 229 h 253"/>
                <a:gd name="T44" fmla="*/ 24 w 218"/>
                <a:gd name="T45"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8" h="253">
                  <a:moveTo>
                    <a:pt x="218" y="126"/>
                  </a:moveTo>
                  <a:cubicBezTo>
                    <a:pt x="218" y="34"/>
                    <a:pt x="218" y="34"/>
                    <a:pt x="218" y="34"/>
                  </a:cubicBezTo>
                  <a:cubicBezTo>
                    <a:pt x="212" y="31"/>
                    <a:pt x="212" y="31"/>
                    <a:pt x="212" y="31"/>
                  </a:cubicBezTo>
                  <a:cubicBezTo>
                    <a:pt x="210" y="30"/>
                    <a:pt x="160" y="1"/>
                    <a:pt x="109" y="0"/>
                  </a:cubicBezTo>
                  <a:cubicBezTo>
                    <a:pt x="109" y="0"/>
                    <a:pt x="109" y="0"/>
                    <a:pt x="109" y="0"/>
                  </a:cubicBezTo>
                  <a:cubicBezTo>
                    <a:pt x="109" y="0"/>
                    <a:pt x="109" y="0"/>
                    <a:pt x="109" y="0"/>
                  </a:cubicBezTo>
                  <a:cubicBezTo>
                    <a:pt x="58" y="1"/>
                    <a:pt x="8" y="30"/>
                    <a:pt x="6" y="31"/>
                  </a:cubicBezTo>
                  <a:cubicBezTo>
                    <a:pt x="0" y="34"/>
                    <a:pt x="0" y="34"/>
                    <a:pt x="0" y="34"/>
                  </a:cubicBezTo>
                  <a:cubicBezTo>
                    <a:pt x="0" y="126"/>
                    <a:pt x="0" y="126"/>
                    <a:pt x="0" y="126"/>
                  </a:cubicBezTo>
                  <a:cubicBezTo>
                    <a:pt x="0" y="185"/>
                    <a:pt x="77" y="253"/>
                    <a:pt x="109" y="253"/>
                  </a:cubicBezTo>
                  <a:cubicBezTo>
                    <a:pt x="140" y="253"/>
                    <a:pt x="218" y="185"/>
                    <a:pt x="218" y="126"/>
                  </a:cubicBezTo>
                  <a:close/>
                  <a:moveTo>
                    <a:pt x="109" y="24"/>
                  </a:moveTo>
                  <a:cubicBezTo>
                    <a:pt x="144" y="25"/>
                    <a:pt x="180" y="42"/>
                    <a:pt x="194" y="49"/>
                  </a:cubicBezTo>
                  <a:cubicBezTo>
                    <a:pt x="194" y="62"/>
                    <a:pt x="194" y="62"/>
                    <a:pt x="194" y="62"/>
                  </a:cubicBezTo>
                  <a:cubicBezTo>
                    <a:pt x="24" y="62"/>
                    <a:pt x="24" y="62"/>
                    <a:pt x="24" y="62"/>
                  </a:cubicBezTo>
                  <a:cubicBezTo>
                    <a:pt x="24" y="49"/>
                    <a:pt x="24" y="49"/>
                    <a:pt x="24" y="49"/>
                  </a:cubicBezTo>
                  <a:cubicBezTo>
                    <a:pt x="38" y="42"/>
                    <a:pt x="74" y="25"/>
                    <a:pt x="109" y="24"/>
                  </a:cubicBezTo>
                  <a:close/>
                  <a:moveTo>
                    <a:pt x="24" y="126"/>
                  </a:moveTo>
                  <a:cubicBezTo>
                    <a:pt x="24" y="86"/>
                    <a:pt x="24" y="86"/>
                    <a:pt x="24" y="86"/>
                  </a:cubicBezTo>
                  <a:cubicBezTo>
                    <a:pt x="194" y="86"/>
                    <a:pt x="194" y="86"/>
                    <a:pt x="194" y="86"/>
                  </a:cubicBezTo>
                  <a:cubicBezTo>
                    <a:pt x="194" y="126"/>
                    <a:pt x="194" y="126"/>
                    <a:pt x="194" y="126"/>
                  </a:cubicBezTo>
                  <a:cubicBezTo>
                    <a:pt x="194" y="173"/>
                    <a:pt x="125" y="229"/>
                    <a:pt x="109" y="229"/>
                  </a:cubicBezTo>
                  <a:cubicBezTo>
                    <a:pt x="92" y="229"/>
                    <a:pt x="24" y="173"/>
                    <a:pt x="24"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sp>
        <p:nvSpPr>
          <p:cNvPr id="11" name="Text Placeholder 12"/>
          <p:cNvSpPr txBox="1">
            <a:spLocks/>
          </p:cNvSpPr>
          <p:nvPr/>
        </p:nvSpPr>
        <p:spPr>
          <a:xfrm>
            <a:off x="269240" y="2626516"/>
            <a:ext cx="6168721" cy="1654466"/>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874">
              <a:spcBef>
                <a:spcPts val="0"/>
              </a:spcBef>
              <a:spcAft>
                <a:spcPts val="980"/>
              </a:spcAft>
              <a:buNone/>
              <a:defRPr/>
            </a:pPr>
            <a:r>
              <a:rPr lang="en-US" sz="1765" b="1" kern="0" dirty="0">
                <a:solidFill>
                  <a:schemeClr val="bg1"/>
                </a:solidFill>
                <a:latin typeface="Segoe UI" panose="020B0502040204020203" pitchFamily="34" charset="0"/>
                <a:ea typeface="Calibri" panose="020F0502020204030204" pitchFamily="34" charset="0"/>
                <a:cs typeface="Segoe UI" panose="020B0502040204020203" pitchFamily="34" charset="0"/>
              </a:rPr>
              <a:t>Lock down ports on virtual machines</a:t>
            </a:r>
          </a:p>
          <a:p>
            <a:pPr marL="448193" indent="0">
              <a:spcBef>
                <a:spcPts val="0"/>
              </a:spcBef>
              <a:spcAft>
                <a:spcPts val="980"/>
              </a:spcAft>
              <a:buNone/>
            </a:pPr>
            <a:r>
              <a:rPr lang="en-US" sz="1765" dirty="0">
                <a:solidFill>
                  <a:schemeClr val="bg1"/>
                </a:solidFill>
                <a:latin typeface="+mn-lt"/>
                <a:ea typeface="Calibri" panose="020F0502020204030204" pitchFamily="34" charset="0"/>
                <a:cs typeface="Segoe UI" panose="020B0502040204020203" pitchFamily="34" charset="0"/>
              </a:rPr>
              <a:t>Enable just-in-time access </a:t>
            </a:r>
            <a:br>
              <a:rPr lang="en-US" sz="1765" dirty="0">
                <a:solidFill>
                  <a:schemeClr val="bg1"/>
                </a:solidFill>
                <a:latin typeface="+mn-lt"/>
                <a:ea typeface="Calibri" panose="020F0502020204030204" pitchFamily="34" charset="0"/>
                <a:cs typeface="Segoe UI" panose="020B0502040204020203" pitchFamily="34" charset="0"/>
              </a:rPr>
            </a:br>
            <a:r>
              <a:rPr lang="en-US" sz="1765" dirty="0">
                <a:solidFill>
                  <a:schemeClr val="bg1"/>
                </a:solidFill>
                <a:latin typeface="+mn-lt"/>
                <a:ea typeface="Calibri" panose="020F0502020204030204" pitchFamily="34" charset="0"/>
                <a:cs typeface="Segoe UI" panose="020B0502040204020203" pitchFamily="34" charset="0"/>
              </a:rPr>
              <a:t>to virtual machines</a:t>
            </a:r>
          </a:p>
          <a:p>
            <a:pPr marL="448193" indent="0">
              <a:spcBef>
                <a:spcPts val="0"/>
              </a:spcBef>
              <a:spcAft>
                <a:spcPts val="980"/>
              </a:spcAft>
              <a:buNone/>
            </a:pPr>
            <a:r>
              <a:rPr lang="en-US" sz="1765" dirty="0">
                <a:solidFill>
                  <a:schemeClr val="bg1"/>
                </a:solidFill>
                <a:latin typeface="+mn-lt"/>
                <a:ea typeface="Calibri" panose="020F0502020204030204" pitchFamily="34" charset="0"/>
                <a:cs typeface="Segoe UI" panose="020B0502040204020203" pitchFamily="34" charset="0"/>
              </a:rPr>
              <a:t>Access automatically granted </a:t>
            </a:r>
            <a:br>
              <a:rPr lang="en-US" sz="1765" dirty="0">
                <a:solidFill>
                  <a:schemeClr val="bg1"/>
                </a:solidFill>
                <a:latin typeface="+mn-lt"/>
                <a:ea typeface="Calibri" panose="020F0502020204030204" pitchFamily="34" charset="0"/>
                <a:cs typeface="Segoe UI" panose="020B0502040204020203" pitchFamily="34" charset="0"/>
              </a:rPr>
            </a:br>
            <a:r>
              <a:rPr lang="en-US" sz="1765" dirty="0">
                <a:solidFill>
                  <a:schemeClr val="bg1"/>
                </a:solidFill>
                <a:latin typeface="+mn-lt"/>
                <a:ea typeface="Calibri" panose="020F0502020204030204" pitchFamily="34" charset="0"/>
                <a:cs typeface="Segoe UI" panose="020B0502040204020203" pitchFamily="34" charset="0"/>
              </a:rPr>
              <a:t>for limited time</a:t>
            </a:r>
          </a:p>
        </p:txBody>
      </p:sp>
      <p:sp>
        <p:nvSpPr>
          <p:cNvPr id="12" name="L-Shape 11"/>
          <p:cNvSpPr/>
          <p:nvPr/>
        </p:nvSpPr>
        <p:spPr bwMode="auto">
          <a:xfrm rot="13500000">
            <a:off x="566136" y="3136341"/>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4" name="L-Shape 13"/>
          <p:cNvSpPr/>
          <p:nvPr/>
        </p:nvSpPr>
        <p:spPr bwMode="auto">
          <a:xfrm rot="13500000">
            <a:off x="566136" y="3744852"/>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DB03FEAB-017E-4552-A4CE-40D9177723D7}"/>
              </a:ext>
            </a:extLst>
          </p:cNvPr>
          <p:cNvPicPr>
            <a:picLocks noChangeAspect="1"/>
          </p:cNvPicPr>
          <p:nvPr/>
        </p:nvPicPr>
        <p:blipFill rotWithShape="1">
          <a:blip r:embed="rId3"/>
          <a:srcRect l="210" b="8938"/>
          <a:stretch/>
        </p:blipFill>
        <p:spPr>
          <a:xfrm>
            <a:off x="4525701" y="2125591"/>
            <a:ext cx="7168286" cy="4063892"/>
          </a:xfrm>
          <a:prstGeom prst="rect">
            <a:avLst/>
          </a:prstGeom>
        </p:spPr>
      </p:pic>
    </p:spTree>
    <p:extLst>
      <p:ext uri="{BB962C8B-B14F-4D97-AF65-F5344CB8AC3E}">
        <p14:creationId xmlns:p14="http://schemas.microsoft.com/office/powerpoint/2010/main" val="97892706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2.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3.xml><?xml version="1.0" encoding="utf-8"?>
<a:theme xmlns:a="http://schemas.openxmlformats.org/drawingml/2006/main" name="5-5017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AAAB9BC6-90B3-485A-97BE-C966297A0E62}"/>
    </a:ext>
  </a:extLst>
</a:theme>
</file>

<file path=ppt/theme/theme4.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5.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6.xml><?xml version="1.0" encoding="utf-8"?>
<a:theme xmlns:a="http://schemas.openxmlformats.org/drawingml/2006/main" name="Synergetic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ynergetics" id="{7148B0CF-40DA-450B-B5E1-A56075EFA433}" vid="{3F91DC18-A746-44C9-B412-3C2FFF1DCFE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99701729CAAB47AA13756597E53F4C" ma:contentTypeVersion="12" ma:contentTypeDescription="Create a new document." ma:contentTypeScope="" ma:versionID="4f6f6da8b0db685529ca83876389b8a6">
  <xsd:schema xmlns:xsd="http://www.w3.org/2001/XMLSchema" xmlns:xs="http://www.w3.org/2001/XMLSchema" xmlns:p="http://schemas.microsoft.com/office/2006/metadata/properties" xmlns:ns3="2dcf4534-d91c-46e6-a511-773e0c751128" xmlns:ns4="b5610f89-eaf0-4c24-bd28-02d36860b714" targetNamespace="http://schemas.microsoft.com/office/2006/metadata/properties" ma:root="true" ma:fieldsID="5dae91267e3716936d10fdc96ddf1557" ns3:_="" ns4:_="">
    <xsd:import namespace="2dcf4534-d91c-46e6-a511-773e0c751128"/>
    <xsd:import namespace="b5610f89-eaf0-4c24-bd28-02d36860b714"/>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cf4534-d91c-46e6-a511-773e0c75112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5610f89-eaf0-4c24-bd28-02d36860b714"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description="" ma:internalName="MediaServiceAutoTags" ma:readOnly="true">
      <xsd:simpleType>
        <xsd:restriction base="dms:Text"/>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E0CB067-B368-4D92-8668-371D8CE429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cf4534-d91c-46e6-a511-773e0c751128"/>
    <ds:schemaRef ds:uri="b5610f89-eaf0-4c24-bd28-02d36860b7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1018208-8004-4CED-BF44-ED368E32B811}">
  <ds:schemaRefs>
    <ds:schemaRef ds:uri="http://schemas.microsoft.com/sharepoint/v3/contenttype/forms"/>
  </ds:schemaRefs>
</ds:datastoreItem>
</file>

<file path=customXml/itemProps3.xml><?xml version="1.0" encoding="utf-8"?>
<ds:datastoreItem xmlns:ds="http://schemas.openxmlformats.org/officeDocument/2006/customXml" ds:itemID="{1E91DBAA-73B1-46DE-A02B-B400BCCAEA24}">
  <ds:schemaRefs>
    <ds:schemaRef ds:uri="http://schemas.microsoft.com/office/2006/metadata/properties"/>
    <ds:schemaRef ds:uri="http://purl.org/dc/terms/"/>
    <ds:schemaRef ds:uri="b5610f89-eaf0-4c24-bd28-02d36860b714"/>
    <ds:schemaRef ds:uri="2dcf4534-d91c-46e6-a511-773e0c751128"/>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http://purl.org/dc/dcmityp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66</TotalTime>
  <Words>973</Words>
  <Application>Microsoft Office PowerPoint</Application>
  <PresentationFormat>Widescreen</PresentationFormat>
  <Paragraphs>120</Paragraphs>
  <Slides>17</Slides>
  <Notes>13</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17</vt:i4>
      </vt:variant>
    </vt:vector>
  </HeadingPairs>
  <TitlesOfParts>
    <vt:vector size="34" baseType="lpstr">
      <vt:lpstr>Arial</vt:lpstr>
      <vt:lpstr>Calibri</vt:lpstr>
      <vt:lpstr>Calibri Light</vt:lpstr>
      <vt:lpstr>Consolas</vt:lpstr>
      <vt:lpstr>Segoe Pro Semibold</vt:lpstr>
      <vt:lpstr>Segoe UI</vt:lpstr>
      <vt:lpstr>Segoe UI Light</vt:lpstr>
      <vt:lpstr>Segoe UI Semibold</vt:lpstr>
      <vt:lpstr>Segoe UI Semilight</vt:lpstr>
      <vt:lpstr>Wingdings</vt:lpstr>
      <vt:lpstr>C+E Readiness Template</vt:lpstr>
      <vt:lpstr>5-50173_Microsoft_Ready_Light_Template</vt:lpstr>
      <vt:lpstr>5-50173_Microsoft_Ready_Dark_Template</vt:lpstr>
      <vt:lpstr>WHITE TEMPLATE</vt:lpstr>
      <vt:lpstr>1_WHITE TEMPLATE</vt:lpstr>
      <vt:lpstr>Synergetics</vt:lpstr>
      <vt:lpstr>think-cell Slide</vt:lpstr>
      <vt:lpstr>Azure Security Posture</vt:lpstr>
      <vt:lpstr>Agenda</vt:lpstr>
      <vt:lpstr>Adaptive Threat Prevention</vt:lpstr>
      <vt:lpstr>Detect cyber threats</vt:lpstr>
      <vt:lpstr>Prioritized security alerts provide details about the threat detected and suggests steps to remediate</vt:lpstr>
      <vt:lpstr>Alerts that conform to kill chain patterns are fused into a single incident</vt:lpstr>
      <vt:lpstr>Advanced detection capabilities</vt:lpstr>
      <vt:lpstr>Identify and remediate vulnerabilities quickly</vt:lpstr>
      <vt:lpstr>Limit exposure to brute- force attacks</vt:lpstr>
      <vt:lpstr>Block malware and other unwanted applications </vt:lpstr>
      <vt:lpstr>Intelligent Detection &amp;  Response</vt:lpstr>
      <vt:lpstr>Built-in intelligence and advanced analytics</vt:lpstr>
      <vt:lpstr>Detect threats across the kill chain </vt:lpstr>
      <vt:lpstr>Focus on the most critical threats </vt:lpstr>
      <vt:lpstr>Gain valuable insights about attackers</vt:lpstr>
      <vt:lpstr>Simplify security operations and investigation</vt:lpstr>
      <vt:lpstr>Respond quickly to threa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ecurity</dc:title>
  <dc:creator>Anand Prabhu</dc:creator>
  <cp:lastModifiedBy>Anand Prabhu</cp:lastModifiedBy>
  <cp:revision>3</cp:revision>
  <dcterms:created xsi:type="dcterms:W3CDTF">2020-04-24T05:02:23Z</dcterms:created>
  <dcterms:modified xsi:type="dcterms:W3CDTF">2021-03-31T10:4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99701729CAAB47AA13756597E53F4C</vt:lpwstr>
  </property>
</Properties>
</file>